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97" r:id="rId1"/>
    <p:sldMasterId id="2147483703" r:id="rId2"/>
  </p:sldMasterIdLst>
  <p:notesMasterIdLst>
    <p:notesMasterId r:id="rId24"/>
  </p:notesMasterIdLst>
  <p:handoutMasterIdLst>
    <p:handoutMasterId r:id="rId25"/>
  </p:handoutMasterIdLst>
  <p:sldIdLst>
    <p:sldId id="269" r:id="rId3"/>
    <p:sldId id="273" r:id="rId4"/>
    <p:sldId id="275" r:id="rId5"/>
    <p:sldId id="271" r:id="rId6"/>
    <p:sldId id="272" r:id="rId7"/>
    <p:sldId id="274" r:id="rId8"/>
    <p:sldId id="276" r:id="rId9"/>
    <p:sldId id="277" r:id="rId10"/>
    <p:sldId id="278" r:id="rId11"/>
    <p:sldId id="279" r:id="rId12"/>
    <p:sldId id="281" r:id="rId13"/>
    <p:sldId id="282" r:id="rId14"/>
    <p:sldId id="283" r:id="rId15"/>
    <p:sldId id="286" r:id="rId16"/>
    <p:sldId id="288" r:id="rId17"/>
    <p:sldId id="289" r:id="rId18"/>
    <p:sldId id="291" r:id="rId19"/>
    <p:sldId id="292" r:id="rId20"/>
    <p:sldId id="293" r:id="rId21"/>
    <p:sldId id="294" r:id="rId22"/>
    <p:sldId id="295" r:id="rId23"/>
  </p:sldIdLst>
  <p:sldSz cx="9906000" cy="6858000" type="A4"/>
  <p:notesSz cx="6797675" cy="9928225"/>
  <p:embeddedFontLst>
    <p:embeddedFont>
      <p:font typeface="Wingdings 2" panose="05020102010507070707" pitchFamily="18" charset="2"/>
      <p:regular r:id="rId26"/>
    </p:embeddedFont>
    <p:embeddedFont>
      <p:font typeface="Marlett" pitchFamily="2" charset="2"/>
      <p:regular r:id="rId27"/>
    </p:embeddedFont>
    <p:embeddedFont>
      <p:font typeface="Wingdings 3" panose="05040102010807070707" pitchFamily="18" charset="2"/>
      <p:regular r:id="rId28"/>
    </p:embeddedFont>
  </p:embeddedFontLst>
  <p:custDataLst>
    <p:tags r:id="rId2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E7BC"/>
    <a:srgbClr val="D20019"/>
    <a:srgbClr val="FFCCCC"/>
    <a:srgbClr val="FFFFCC"/>
    <a:srgbClr val="DDDDDD"/>
    <a:srgbClr val="FFCC99"/>
    <a:srgbClr val="99CCFF"/>
    <a:srgbClr val="33CC33"/>
    <a:srgbClr val="C0C0C0"/>
    <a:srgbClr val="CDCD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07" autoAdjust="0"/>
    <p:restoredTop sz="91304" autoAdjust="0"/>
  </p:normalViewPr>
  <p:slideViewPr>
    <p:cSldViewPr>
      <p:cViewPr varScale="1">
        <p:scale>
          <a:sx n="110" d="100"/>
          <a:sy n="110" d="100"/>
        </p:scale>
        <p:origin x="-822" y="-9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1.fntdata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font" Target="fonts/font3.fntdata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font" Target="fonts/font2.fntdata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1ECC50-CE7C-46DC-89D0-636C917CEA3E}" type="doc">
      <dgm:prSet loTypeId="urn:microsoft.com/office/officeart/2005/8/layout/orgChart1" loCatId="hierarchy" qsTypeId="urn:microsoft.com/office/officeart/2005/8/quickstyle/simple1" qsCatId="simple" csTypeId="urn:microsoft.com/office/officeart/2005/8/colors/colorful3" csCatId="colorful" phldr="1"/>
      <dgm:spPr/>
    </dgm:pt>
    <dgm:pt modelId="{FE0BB734-60A2-4994-9EDD-835D117FB4DD}">
      <dgm:prSet custT="1"/>
      <dgm:spPr/>
      <dgm:t>
        <a:bodyPr/>
        <a:lstStyle/>
        <a:p>
          <a:pPr rtl="0" eaLnBrk="1" latinLnBrk="0"/>
          <a:r>
            <a:rPr lang="de-DE" altLang="de-DE" sz="1050" dirty="0" smtClean="0"/>
            <a:t>openKONSEQUENZ Pilotphase und Pilotprojekt</a:t>
          </a:r>
        </a:p>
      </dgm:t>
    </dgm:pt>
    <dgm:pt modelId="{6EC25B38-3939-4E05-96DB-85AA34756077}" type="parTrans" cxnId="{48F70748-B7A9-4002-819F-9B287C0A30C9}">
      <dgm:prSet/>
      <dgm:spPr/>
      <dgm:t>
        <a:bodyPr/>
        <a:lstStyle/>
        <a:p>
          <a:endParaRPr lang="de-DE" sz="4800"/>
        </a:p>
      </dgm:t>
    </dgm:pt>
    <dgm:pt modelId="{7E3D0E72-A31C-4C66-BFD7-1FE04C3AB13E}" type="sibTrans" cxnId="{48F70748-B7A9-4002-819F-9B287C0A30C9}">
      <dgm:prSet/>
      <dgm:spPr/>
      <dgm:t>
        <a:bodyPr/>
        <a:lstStyle/>
        <a:p>
          <a:endParaRPr lang="de-DE" sz="4800"/>
        </a:p>
      </dgm:t>
    </dgm:pt>
    <dgm:pt modelId="{449FAACB-8AD8-44C1-BD3E-404521F031DD}">
      <dgm:prSet custT="1"/>
      <dgm:spPr/>
      <dgm:t>
        <a:bodyPr/>
        <a:lstStyle/>
        <a:p>
          <a:pPr rtl="0" eaLnBrk="1" latinLnBrk="0"/>
          <a:r>
            <a:rPr lang="de-DE" altLang="de-DE" sz="1000" dirty="0" smtClean="0"/>
            <a:t>AP S3</a:t>
          </a:r>
        </a:p>
        <a:p>
          <a:pPr rtl="0" eaLnBrk="1" latinLnBrk="0"/>
          <a:r>
            <a:rPr lang="de-DE" sz="1000" dirty="0" smtClean="0"/>
            <a:t>Öffentlich-</a:t>
          </a:r>
          <a:r>
            <a:rPr lang="de-DE" sz="1000" dirty="0" err="1" smtClean="0"/>
            <a:t>keitsarbeit</a:t>
          </a:r>
          <a:endParaRPr lang="de-DE" altLang="de-DE" sz="1000" dirty="0" smtClean="0"/>
        </a:p>
      </dgm:t>
    </dgm:pt>
    <dgm:pt modelId="{17F81AC7-F98C-4C79-AEDE-DA6C13BC9660}" type="parTrans" cxnId="{680F341A-4582-4243-B897-ACA988440E7D}">
      <dgm:prSet/>
      <dgm:spPr/>
      <dgm:t>
        <a:bodyPr/>
        <a:lstStyle/>
        <a:p>
          <a:endParaRPr lang="de-DE" sz="4800"/>
        </a:p>
      </dgm:t>
    </dgm:pt>
    <dgm:pt modelId="{DB926B21-23C5-4221-8404-85E953737A33}" type="sibTrans" cxnId="{680F341A-4582-4243-B897-ACA988440E7D}">
      <dgm:prSet/>
      <dgm:spPr/>
      <dgm:t>
        <a:bodyPr/>
        <a:lstStyle/>
        <a:p>
          <a:endParaRPr lang="de-DE" sz="4800"/>
        </a:p>
      </dgm:t>
    </dgm:pt>
    <dgm:pt modelId="{7DFE66D6-E14C-49C7-ACB3-551DCFC8FA04}">
      <dgm:prSet custT="1"/>
      <dgm:spPr/>
      <dgm:t>
        <a:bodyPr/>
        <a:lstStyle/>
        <a:p>
          <a:pPr rtl="0" eaLnBrk="1" latinLnBrk="0"/>
          <a:r>
            <a:rPr lang="de-DE" altLang="de-DE" sz="1100" dirty="0" smtClean="0"/>
            <a:t>Project </a:t>
          </a:r>
          <a:r>
            <a:rPr lang="de-DE" altLang="de-DE" sz="1100" dirty="0" err="1" smtClean="0"/>
            <a:t>Planning</a:t>
          </a:r>
          <a:r>
            <a:rPr lang="de-DE" altLang="de-DE" sz="1100" dirty="0" smtClean="0"/>
            <a:t> Committee</a:t>
          </a:r>
        </a:p>
      </dgm:t>
    </dgm:pt>
    <dgm:pt modelId="{2A337AA1-B8AB-419F-A044-1C6494D2EB9D}" type="parTrans" cxnId="{DC7CDA86-36FC-4B47-8179-FE8C22100D6D}">
      <dgm:prSet/>
      <dgm:spPr/>
      <dgm:t>
        <a:bodyPr/>
        <a:lstStyle/>
        <a:p>
          <a:endParaRPr lang="de-DE" sz="4800"/>
        </a:p>
      </dgm:t>
    </dgm:pt>
    <dgm:pt modelId="{88BA1A26-1DFF-4FA6-8C6F-397EB6F32FF8}" type="sibTrans" cxnId="{DC7CDA86-36FC-4B47-8179-FE8C22100D6D}">
      <dgm:prSet/>
      <dgm:spPr/>
      <dgm:t>
        <a:bodyPr/>
        <a:lstStyle/>
        <a:p>
          <a:endParaRPr lang="de-DE" sz="4800"/>
        </a:p>
      </dgm:t>
    </dgm:pt>
    <dgm:pt modelId="{57FD3D86-6FCD-4616-86B8-CC27EF5B532A}">
      <dgm:prSet custT="1"/>
      <dgm:spPr/>
      <dgm:t>
        <a:bodyPr/>
        <a:lstStyle/>
        <a:p>
          <a:pPr rtl="0" eaLnBrk="1" latinLnBrk="0"/>
          <a:r>
            <a:rPr lang="de-DE" sz="1000" dirty="0" smtClean="0"/>
            <a:t>AP P1</a:t>
          </a:r>
        </a:p>
        <a:p>
          <a:pPr rtl="0" eaLnBrk="1" latinLnBrk="0"/>
          <a:r>
            <a:rPr lang="de-DE" sz="1000" dirty="0" smtClean="0"/>
            <a:t>Pilotprojekt (</a:t>
          </a:r>
          <a:r>
            <a:rPr lang="de-DE" sz="1000" dirty="0" err="1" smtClean="0"/>
            <a:t>Product</a:t>
          </a:r>
          <a:r>
            <a:rPr lang="de-DE" sz="1000" dirty="0" smtClean="0"/>
            <a:t> </a:t>
          </a:r>
          <a:r>
            <a:rPr lang="de-DE" sz="1000" dirty="0" err="1" smtClean="0"/>
            <a:t>Owner</a:t>
          </a:r>
          <a:r>
            <a:rPr lang="de-DE" sz="1000" dirty="0" smtClean="0"/>
            <a:t>)</a:t>
          </a:r>
          <a:endParaRPr lang="de-DE" altLang="de-DE" sz="1000" dirty="0" smtClean="0"/>
        </a:p>
      </dgm:t>
    </dgm:pt>
    <dgm:pt modelId="{C2083E85-EADE-415A-849F-BA85D79F5797}" type="parTrans" cxnId="{C76CEB6B-09EA-4F65-854D-315848153B0E}">
      <dgm:prSet/>
      <dgm:spPr/>
      <dgm:t>
        <a:bodyPr/>
        <a:lstStyle/>
        <a:p>
          <a:endParaRPr lang="de-DE" sz="4800"/>
        </a:p>
      </dgm:t>
    </dgm:pt>
    <dgm:pt modelId="{9880851A-A03D-4DE4-A6CF-904D4F143753}" type="sibTrans" cxnId="{C76CEB6B-09EA-4F65-854D-315848153B0E}">
      <dgm:prSet/>
      <dgm:spPr/>
      <dgm:t>
        <a:bodyPr/>
        <a:lstStyle/>
        <a:p>
          <a:endParaRPr lang="de-DE" sz="4800"/>
        </a:p>
      </dgm:t>
    </dgm:pt>
    <dgm:pt modelId="{1FFE048B-868E-4433-B886-C9FA89FFC0DC}">
      <dgm:prSet custT="1"/>
      <dgm:spPr/>
      <dgm:t>
        <a:bodyPr/>
        <a:lstStyle/>
        <a:p>
          <a:pPr rtl="0" eaLnBrk="1" latinLnBrk="0"/>
          <a:r>
            <a:rPr lang="de-DE" altLang="de-DE" sz="1100" dirty="0" smtClean="0"/>
            <a:t>Quality Committee</a:t>
          </a:r>
        </a:p>
      </dgm:t>
    </dgm:pt>
    <dgm:pt modelId="{388C726F-4F37-4CA6-ABD6-7DE478360A71}" type="parTrans" cxnId="{3F04C66E-CF09-4D03-BDBD-B76C5826C085}">
      <dgm:prSet/>
      <dgm:spPr/>
      <dgm:t>
        <a:bodyPr/>
        <a:lstStyle/>
        <a:p>
          <a:endParaRPr lang="de-DE" sz="4800"/>
        </a:p>
      </dgm:t>
    </dgm:pt>
    <dgm:pt modelId="{E35EC7EF-B103-4796-B560-7417B7044470}" type="sibTrans" cxnId="{3F04C66E-CF09-4D03-BDBD-B76C5826C085}">
      <dgm:prSet/>
      <dgm:spPr/>
      <dgm:t>
        <a:bodyPr/>
        <a:lstStyle/>
        <a:p>
          <a:endParaRPr lang="de-DE" sz="4800"/>
        </a:p>
      </dgm:t>
    </dgm:pt>
    <dgm:pt modelId="{07DD4598-DF06-4719-8319-84FA0AB51DAD}">
      <dgm:prSet custT="1"/>
      <dgm:spPr/>
      <dgm:t>
        <a:bodyPr/>
        <a:lstStyle/>
        <a:p>
          <a:pPr rtl="0" eaLnBrk="1" latinLnBrk="0"/>
          <a:r>
            <a:rPr lang="de-DE" altLang="de-DE" sz="1000" dirty="0" smtClean="0"/>
            <a:t>AP S4</a:t>
          </a:r>
        </a:p>
        <a:p>
          <a:pPr rtl="0" eaLnBrk="1" latinLnBrk="0"/>
          <a:r>
            <a:rPr lang="de-DE" sz="1000" dirty="0" smtClean="0"/>
            <a:t>Förderung</a:t>
          </a:r>
          <a:endParaRPr lang="de-DE" altLang="de-DE" sz="1000" dirty="0" smtClean="0"/>
        </a:p>
      </dgm:t>
    </dgm:pt>
    <dgm:pt modelId="{F15FFBC1-F38F-46AE-A991-53099771CC46}" type="parTrans" cxnId="{A176099F-D214-4BB5-B635-5386C7027EE5}">
      <dgm:prSet/>
      <dgm:spPr/>
      <dgm:t>
        <a:bodyPr/>
        <a:lstStyle/>
        <a:p>
          <a:endParaRPr lang="de-DE" sz="4800"/>
        </a:p>
      </dgm:t>
    </dgm:pt>
    <dgm:pt modelId="{7E745B84-0290-433D-AC7F-0353CE5E71E1}" type="sibTrans" cxnId="{A176099F-D214-4BB5-B635-5386C7027EE5}">
      <dgm:prSet/>
      <dgm:spPr/>
      <dgm:t>
        <a:bodyPr/>
        <a:lstStyle/>
        <a:p>
          <a:endParaRPr lang="de-DE" sz="4800"/>
        </a:p>
      </dgm:t>
    </dgm:pt>
    <dgm:pt modelId="{1CBB769A-1834-4BBD-9056-6841C32F9C32}">
      <dgm:prSet custT="1"/>
      <dgm:spPr/>
      <dgm:t>
        <a:bodyPr/>
        <a:lstStyle/>
        <a:p>
          <a:pPr rtl="0" eaLnBrk="1" latinLnBrk="0"/>
          <a:r>
            <a:rPr lang="de-DE" altLang="de-DE" sz="1000" dirty="0" smtClean="0"/>
            <a:t>AP Q1</a:t>
          </a:r>
        </a:p>
        <a:p>
          <a:pPr rtl="0" eaLnBrk="1" latinLnBrk="0"/>
          <a:r>
            <a:rPr lang="de-DE" altLang="de-DE" sz="1000" dirty="0" err="1" smtClean="0"/>
            <a:t>Refernz-plattform</a:t>
          </a:r>
          <a:endParaRPr lang="de-DE" altLang="de-DE" sz="1000" dirty="0" smtClean="0"/>
        </a:p>
      </dgm:t>
    </dgm:pt>
    <dgm:pt modelId="{DE3B26A5-1691-41AB-9D3F-E57205407A48}" type="parTrans" cxnId="{751AE509-BD67-49CE-9A8B-F955A439EE89}">
      <dgm:prSet/>
      <dgm:spPr/>
      <dgm:t>
        <a:bodyPr/>
        <a:lstStyle/>
        <a:p>
          <a:endParaRPr lang="de-DE" sz="4800"/>
        </a:p>
      </dgm:t>
    </dgm:pt>
    <dgm:pt modelId="{CB686EF3-BC3B-4EDE-BCC8-48EF07458734}" type="sibTrans" cxnId="{751AE509-BD67-49CE-9A8B-F955A439EE89}">
      <dgm:prSet/>
      <dgm:spPr/>
      <dgm:t>
        <a:bodyPr/>
        <a:lstStyle/>
        <a:p>
          <a:endParaRPr lang="de-DE" sz="4800"/>
        </a:p>
      </dgm:t>
    </dgm:pt>
    <dgm:pt modelId="{AF47FE41-5828-4C7C-A6AE-64A416CCC2F8}">
      <dgm:prSet custT="1"/>
      <dgm:spPr/>
      <dgm:t>
        <a:bodyPr/>
        <a:lstStyle/>
        <a:p>
          <a:pPr rtl="0" eaLnBrk="1" latinLnBrk="0"/>
          <a:r>
            <a:rPr lang="de-DE" altLang="de-DE" sz="1000" dirty="0" smtClean="0"/>
            <a:t>AP Q2</a:t>
          </a:r>
        </a:p>
        <a:p>
          <a:pPr rtl="0" eaLnBrk="1" latinLnBrk="0"/>
          <a:r>
            <a:rPr lang="de-DE" sz="1000" dirty="0" smtClean="0"/>
            <a:t>Ergonomie + GUI</a:t>
          </a:r>
          <a:endParaRPr lang="de-DE" altLang="de-DE" sz="1000" dirty="0" smtClean="0"/>
        </a:p>
      </dgm:t>
    </dgm:pt>
    <dgm:pt modelId="{17B6B2D0-7E3C-43B3-865F-8EE97354BA1A}" type="parTrans" cxnId="{6E9FE560-1617-4DCB-AD6A-07A1C4AAF485}">
      <dgm:prSet/>
      <dgm:spPr/>
      <dgm:t>
        <a:bodyPr/>
        <a:lstStyle/>
        <a:p>
          <a:endParaRPr lang="de-DE" sz="4800"/>
        </a:p>
      </dgm:t>
    </dgm:pt>
    <dgm:pt modelId="{886C76BD-56A0-4386-A580-4D2CD5FFB735}" type="sibTrans" cxnId="{6E9FE560-1617-4DCB-AD6A-07A1C4AAF485}">
      <dgm:prSet/>
      <dgm:spPr/>
      <dgm:t>
        <a:bodyPr/>
        <a:lstStyle/>
        <a:p>
          <a:endParaRPr lang="de-DE" sz="4800"/>
        </a:p>
      </dgm:t>
    </dgm:pt>
    <dgm:pt modelId="{4CB7774D-ACAE-4407-85B1-A04C5856EAA7}">
      <dgm:prSet custT="1"/>
      <dgm:spPr/>
      <dgm:t>
        <a:bodyPr/>
        <a:lstStyle/>
        <a:p>
          <a:pPr rtl="0" eaLnBrk="1" latinLnBrk="0"/>
          <a:r>
            <a:rPr lang="de-DE" altLang="de-DE" sz="1100" dirty="0" err="1" smtClean="0"/>
            <a:t>Steering</a:t>
          </a:r>
          <a:r>
            <a:rPr lang="de-DE" altLang="de-DE" sz="1100" dirty="0" smtClean="0"/>
            <a:t> Committee</a:t>
          </a:r>
        </a:p>
      </dgm:t>
    </dgm:pt>
    <dgm:pt modelId="{64B940DE-A98F-413B-BE82-B3F8AB0B0DCC}" type="sibTrans" cxnId="{E3E3FEBA-F266-4BE2-8BB5-BD4B343AEE4D}">
      <dgm:prSet/>
      <dgm:spPr/>
      <dgm:t>
        <a:bodyPr/>
        <a:lstStyle/>
        <a:p>
          <a:endParaRPr lang="de-DE" sz="4800"/>
        </a:p>
      </dgm:t>
    </dgm:pt>
    <dgm:pt modelId="{E4BDF0AC-C25A-4211-B757-485983970D5E}" type="parTrans" cxnId="{E3E3FEBA-F266-4BE2-8BB5-BD4B343AEE4D}">
      <dgm:prSet/>
      <dgm:spPr/>
      <dgm:t>
        <a:bodyPr/>
        <a:lstStyle/>
        <a:p>
          <a:endParaRPr lang="de-DE" sz="4800"/>
        </a:p>
      </dgm:t>
    </dgm:pt>
    <dgm:pt modelId="{BADF6368-C9A2-4B4F-BD51-A22348BF2FF5}">
      <dgm:prSet custT="1"/>
      <dgm:spPr/>
      <dgm:t>
        <a:bodyPr/>
        <a:lstStyle/>
        <a:p>
          <a:pPr rtl="0" eaLnBrk="1" latinLnBrk="0"/>
          <a:r>
            <a:rPr lang="de-DE" sz="1000" dirty="0" smtClean="0"/>
            <a:t>AP S2</a:t>
          </a:r>
        </a:p>
        <a:p>
          <a:pPr rtl="0" eaLnBrk="1" latinLnBrk="0"/>
          <a:r>
            <a:rPr lang="de-DE" sz="1000" dirty="0" smtClean="0"/>
            <a:t>Workshop vor- bereiten</a:t>
          </a:r>
          <a:endParaRPr lang="de-DE" altLang="de-DE" sz="1000" dirty="0" smtClean="0"/>
        </a:p>
      </dgm:t>
    </dgm:pt>
    <dgm:pt modelId="{620C6BED-2E18-40F0-A900-C5C02D9D7F93}" type="sibTrans" cxnId="{5729027B-CB0E-40A0-89A9-338A79BE5588}">
      <dgm:prSet/>
      <dgm:spPr/>
      <dgm:t>
        <a:bodyPr/>
        <a:lstStyle/>
        <a:p>
          <a:endParaRPr lang="de-DE" sz="4800"/>
        </a:p>
      </dgm:t>
    </dgm:pt>
    <dgm:pt modelId="{A705141B-4898-40C0-AF56-6429D866C6EB}" type="parTrans" cxnId="{5729027B-CB0E-40A0-89A9-338A79BE5588}">
      <dgm:prSet/>
      <dgm:spPr/>
      <dgm:t>
        <a:bodyPr/>
        <a:lstStyle/>
        <a:p>
          <a:endParaRPr lang="de-DE" sz="4800"/>
        </a:p>
      </dgm:t>
    </dgm:pt>
    <dgm:pt modelId="{DDC853E0-49BC-4905-AAB7-DC44415BE22F}">
      <dgm:prSet custT="1"/>
      <dgm:spPr/>
      <dgm:t>
        <a:bodyPr/>
        <a:lstStyle/>
        <a:p>
          <a:r>
            <a:rPr lang="de-DE" altLang="de-DE" sz="1100" dirty="0" err="1" smtClean="0"/>
            <a:t>Architecture</a:t>
          </a:r>
          <a:r>
            <a:rPr lang="de-DE" altLang="de-DE" sz="1100" dirty="0" smtClean="0"/>
            <a:t> Committee</a:t>
          </a:r>
          <a:endParaRPr lang="de-DE" sz="1100" dirty="0"/>
        </a:p>
      </dgm:t>
    </dgm:pt>
    <dgm:pt modelId="{A55D4639-4932-431A-A949-8B873B116928}" type="parTrans" cxnId="{6B7FF052-4EF7-4BD3-BD09-828A51308D29}">
      <dgm:prSet/>
      <dgm:spPr/>
      <dgm:t>
        <a:bodyPr/>
        <a:lstStyle/>
        <a:p>
          <a:endParaRPr lang="de-DE" sz="4800"/>
        </a:p>
      </dgm:t>
    </dgm:pt>
    <dgm:pt modelId="{BFEB3BA7-9DBE-40CB-B45C-1E27E4ED6B78}" type="sibTrans" cxnId="{6B7FF052-4EF7-4BD3-BD09-828A51308D29}">
      <dgm:prSet/>
      <dgm:spPr/>
      <dgm:t>
        <a:bodyPr/>
        <a:lstStyle/>
        <a:p>
          <a:endParaRPr lang="de-DE" sz="4800"/>
        </a:p>
      </dgm:t>
    </dgm:pt>
    <dgm:pt modelId="{6E2D64F5-25A9-446A-95C8-0A13B3A01AB4}">
      <dgm:prSet custT="1"/>
      <dgm:spPr/>
      <dgm:t>
        <a:bodyPr/>
        <a:lstStyle/>
        <a:p>
          <a:r>
            <a:rPr lang="de-DE" sz="1000" dirty="0" smtClean="0"/>
            <a:t>AP S5</a:t>
          </a:r>
        </a:p>
        <a:p>
          <a:r>
            <a:rPr lang="de-DE" sz="1000" dirty="0" smtClean="0"/>
            <a:t>Finanzier-</a:t>
          </a:r>
          <a:r>
            <a:rPr lang="de-DE" sz="1000" dirty="0" err="1" smtClean="0"/>
            <a:t>ungs</a:t>
          </a:r>
          <a:r>
            <a:rPr lang="de-DE" sz="1000" dirty="0" smtClean="0"/>
            <a:t>-modell</a:t>
          </a:r>
          <a:endParaRPr lang="de-DE" sz="1000" dirty="0"/>
        </a:p>
      </dgm:t>
    </dgm:pt>
    <dgm:pt modelId="{05A96DBF-6D28-4F7A-A280-F61E228F2892}" type="parTrans" cxnId="{D4B20909-39D5-4C18-88BA-887002E1AA35}">
      <dgm:prSet/>
      <dgm:spPr/>
      <dgm:t>
        <a:bodyPr/>
        <a:lstStyle/>
        <a:p>
          <a:endParaRPr lang="de-DE" sz="4800"/>
        </a:p>
      </dgm:t>
    </dgm:pt>
    <dgm:pt modelId="{24CFB076-E424-4B63-B955-752DDAA2C491}" type="sibTrans" cxnId="{D4B20909-39D5-4C18-88BA-887002E1AA35}">
      <dgm:prSet/>
      <dgm:spPr/>
      <dgm:t>
        <a:bodyPr/>
        <a:lstStyle/>
        <a:p>
          <a:endParaRPr lang="de-DE" sz="4800"/>
        </a:p>
      </dgm:t>
    </dgm:pt>
    <dgm:pt modelId="{887167D1-0A48-4472-B0BC-33D340D601AD}">
      <dgm:prSet custT="1"/>
      <dgm:spPr/>
      <dgm:t>
        <a:bodyPr/>
        <a:lstStyle/>
        <a:p>
          <a:r>
            <a:rPr lang="de-DE" sz="1000" dirty="0" smtClean="0"/>
            <a:t>AP S7</a:t>
          </a:r>
        </a:p>
        <a:p>
          <a:r>
            <a:rPr lang="de-DE" sz="1000" dirty="0" smtClean="0"/>
            <a:t>Budget Bestellung Buch-haltung</a:t>
          </a:r>
          <a:endParaRPr lang="de-DE" sz="1000" dirty="0"/>
        </a:p>
      </dgm:t>
    </dgm:pt>
    <dgm:pt modelId="{24127FD0-7B4F-49B3-9C1E-E3C9B43B21F1}" type="parTrans" cxnId="{681DEE04-83C4-4C80-B000-006A478541A9}">
      <dgm:prSet/>
      <dgm:spPr/>
      <dgm:t>
        <a:bodyPr/>
        <a:lstStyle/>
        <a:p>
          <a:endParaRPr lang="de-DE" sz="4800"/>
        </a:p>
      </dgm:t>
    </dgm:pt>
    <dgm:pt modelId="{D45A2B18-1A06-4E9D-9333-698D9A6F1A76}" type="sibTrans" cxnId="{681DEE04-83C4-4C80-B000-006A478541A9}">
      <dgm:prSet/>
      <dgm:spPr/>
      <dgm:t>
        <a:bodyPr/>
        <a:lstStyle/>
        <a:p>
          <a:endParaRPr lang="de-DE" sz="4800"/>
        </a:p>
      </dgm:t>
    </dgm:pt>
    <dgm:pt modelId="{D86ABC1E-15F0-49C7-97C5-A6E71008C0D3}">
      <dgm:prSet custT="1"/>
      <dgm:spPr/>
      <dgm:t>
        <a:bodyPr/>
        <a:lstStyle/>
        <a:p>
          <a:r>
            <a:rPr lang="de-DE" altLang="de-DE" sz="1000" dirty="0" smtClean="0"/>
            <a:t>AP A1 </a:t>
          </a:r>
        </a:p>
        <a:p>
          <a:r>
            <a:rPr lang="de-DE" altLang="de-DE" sz="1000" dirty="0" smtClean="0"/>
            <a:t>IT-Sicherheit</a:t>
          </a:r>
          <a:endParaRPr lang="de-DE" sz="1000" dirty="0"/>
        </a:p>
      </dgm:t>
    </dgm:pt>
    <dgm:pt modelId="{40501C84-D1F1-4998-AD19-377A4C915C7C}" type="parTrans" cxnId="{17A55101-008F-4F4C-9956-1473E50652A4}">
      <dgm:prSet/>
      <dgm:spPr/>
      <dgm:t>
        <a:bodyPr/>
        <a:lstStyle/>
        <a:p>
          <a:endParaRPr lang="de-DE" sz="4800"/>
        </a:p>
      </dgm:t>
    </dgm:pt>
    <dgm:pt modelId="{C581678A-FE26-4F61-AC3F-468BD216908F}" type="sibTrans" cxnId="{17A55101-008F-4F4C-9956-1473E50652A4}">
      <dgm:prSet/>
      <dgm:spPr/>
      <dgm:t>
        <a:bodyPr/>
        <a:lstStyle/>
        <a:p>
          <a:endParaRPr lang="de-DE" sz="4800"/>
        </a:p>
      </dgm:t>
    </dgm:pt>
    <dgm:pt modelId="{ACCF9690-BF80-4CF9-93C5-7F3F09600EB0}">
      <dgm:prSet custT="1"/>
      <dgm:spPr/>
      <dgm:t>
        <a:bodyPr/>
        <a:lstStyle/>
        <a:p>
          <a:r>
            <a:rPr lang="de-DE" sz="1000" dirty="0" smtClean="0"/>
            <a:t>AP S6</a:t>
          </a:r>
        </a:p>
        <a:p>
          <a:r>
            <a:rPr lang="de-DE" sz="1000" dirty="0" smtClean="0"/>
            <a:t>Juristische Fragen</a:t>
          </a:r>
        </a:p>
        <a:p>
          <a:endParaRPr lang="de-DE" sz="1000" dirty="0"/>
        </a:p>
      </dgm:t>
    </dgm:pt>
    <dgm:pt modelId="{CF9C4239-170A-418B-BECF-4B3A23002970}" type="parTrans" cxnId="{441327CF-4329-45E6-8375-E2AD526EE066}">
      <dgm:prSet/>
      <dgm:spPr/>
      <dgm:t>
        <a:bodyPr/>
        <a:lstStyle/>
        <a:p>
          <a:endParaRPr lang="de-DE"/>
        </a:p>
      </dgm:t>
    </dgm:pt>
    <dgm:pt modelId="{6BC42506-9DDE-4158-B53D-B86ABAE9F6C6}" type="sibTrans" cxnId="{441327CF-4329-45E6-8375-E2AD526EE066}">
      <dgm:prSet/>
      <dgm:spPr/>
      <dgm:t>
        <a:bodyPr/>
        <a:lstStyle/>
        <a:p>
          <a:endParaRPr lang="de-DE"/>
        </a:p>
      </dgm:t>
    </dgm:pt>
    <dgm:pt modelId="{017FDAC5-2E5C-4267-B26F-C8BF3C51F54A}">
      <dgm:prSet custT="1"/>
      <dgm:spPr/>
      <dgm:t>
        <a:bodyPr/>
        <a:lstStyle/>
        <a:p>
          <a:r>
            <a:rPr lang="de-DE" sz="1000" dirty="0" smtClean="0"/>
            <a:t>AP S1</a:t>
          </a:r>
        </a:p>
        <a:p>
          <a:r>
            <a:rPr lang="de-DE" sz="1000" dirty="0" smtClean="0"/>
            <a:t>Strategie</a:t>
          </a:r>
          <a:endParaRPr lang="de-DE" sz="1000" dirty="0"/>
        </a:p>
      </dgm:t>
    </dgm:pt>
    <dgm:pt modelId="{79EA6C29-56A7-4AAC-84B0-599DB41E8752}" type="parTrans" cxnId="{A536773F-1427-4D6E-976F-7E633DAE9A3C}">
      <dgm:prSet/>
      <dgm:spPr/>
      <dgm:t>
        <a:bodyPr/>
        <a:lstStyle/>
        <a:p>
          <a:endParaRPr lang="de-DE"/>
        </a:p>
      </dgm:t>
    </dgm:pt>
    <dgm:pt modelId="{14B0BD9A-530A-4045-AF6A-04C45183EAD3}" type="sibTrans" cxnId="{A536773F-1427-4D6E-976F-7E633DAE9A3C}">
      <dgm:prSet/>
      <dgm:spPr/>
      <dgm:t>
        <a:bodyPr/>
        <a:lstStyle/>
        <a:p>
          <a:endParaRPr lang="de-DE"/>
        </a:p>
      </dgm:t>
    </dgm:pt>
    <dgm:pt modelId="{E31E4493-E142-454E-8914-11FD9345D0E2}" type="pres">
      <dgm:prSet presAssocID="{1A1ECC50-CE7C-46DC-89D0-636C917CEA3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1F2942D-5499-421A-8446-424FC398EDDF}" type="pres">
      <dgm:prSet presAssocID="{FE0BB734-60A2-4994-9EDD-835D117FB4DD}" presName="hierRoot1" presStyleCnt="0">
        <dgm:presLayoutVars>
          <dgm:hierBranch/>
        </dgm:presLayoutVars>
      </dgm:prSet>
      <dgm:spPr/>
    </dgm:pt>
    <dgm:pt modelId="{94BE5258-20AC-46F6-ACA6-FA8B2ACF2D39}" type="pres">
      <dgm:prSet presAssocID="{FE0BB734-60A2-4994-9EDD-835D117FB4DD}" presName="rootComposite1" presStyleCnt="0"/>
      <dgm:spPr/>
    </dgm:pt>
    <dgm:pt modelId="{0019B321-6151-4B30-B74E-DCAF498B6A27}" type="pres">
      <dgm:prSet presAssocID="{FE0BB734-60A2-4994-9EDD-835D117FB4DD}" presName="rootText1" presStyleLbl="node0" presStyleIdx="0" presStyleCnt="1" custScaleX="190888" custScaleY="20149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FDD2C79-7F67-4EC0-84C7-1B2C3C9A327F}" type="pres">
      <dgm:prSet presAssocID="{FE0BB734-60A2-4994-9EDD-835D117FB4DD}" presName="rootConnector1" presStyleLbl="node1" presStyleIdx="0" presStyleCnt="0"/>
      <dgm:spPr/>
      <dgm:t>
        <a:bodyPr/>
        <a:lstStyle/>
        <a:p>
          <a:endParaRPr lang="de-DE"/>
        </a:p>
      </dgm:t>
    </dgm:pt>
    <dgm:pt modelId="{52CF0F0B-67CC-4F6B-BFF0-22107935D4F0}" type="pres">
      <dgm:prSet presAssocID="{FE0BB734-60A2-4994-9EDD-835D117FB4DD}" presName="hierChild2" presStyleCnt="0"/>
      <dgm:spPr/>
    </dgm:pt>
    <dgm:pt modelId="{C84531DC-D68F-4B27-95A7-87D73835AA79}" type="pres">
      <dgm:prSet presAssocID="{E4BDF0AC-C25A-4211-B757-485983970D5E}" presName="Name35" presStyleLbl="parChTrans1D2" presStyleIdx="0" presStyleCnt="4"/>
      <dgm:spPr/>
      <dgm:t>
        <a:bodyPr/>
        <a:lstStyle/>
        <a:p>
          <a:endParaRPr lang="de-DE"/>
        </a:p>
      </dgm:t>
    </dgm:pt>
    <dgm:pt modelId="{2125DE4E-3DD9-4D75-BBBD-ADBFE48D778C}" type="pres">
      <dgm:prSet presAssocID="{4CB7774D-ACAE-4407-85B1-A04C5856EAA7}" presName="hierRoot2" presStyleCnt="0">
        <dgm:presLayoutVars>
          <dgm:hierBranch/>
        </dgm:presLayoutVars>
      </dgm:prSet>
      <dgm:spPr/>
    </dgm:pt>
    <dgm:pt modelId="{0BDBA21B-FDDB-40A0-9064-E97A22ED9BBF}" type="pres">
      <dgm:prSet presAssocID="{4CB7774D-ACAE-4407-85B1-A04C5856EAA7}" presName="rootComposite" presStyleCnt="0"/>
      <dgm:spPr/>
    </dgm:pt>
    <dgm:pt modelId="{A2DE6312-2DAC-4E2E-AA7F-5D98FC33D954}" type="pres">
      <dgm:prSet presAssocID="{4CB7774D-ACAE-4407-85B1-A04C5856EAA7}" presName="rootText" presStyleLbl="node2" presStyleIdx="0" presStyleCnt="4" custScaleX="137864" custScaleY="169679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108067C-007A-4A28-95CF-5EF5BEA3611D}" type="pres">
      <dgm:prSet presAssocID="{4CB7774D-ACAE-4407-85B1-A04C5856EAA7}" presName="rootConnector" presStyleLbl="node2" presStyleIdx="0" presStyleCnt="4"/>
      <dgm:spPr/>
      <dgm:t>
        <a:bodyPr/>
        <a:lstStyle/>
        <a:p>
          <a:endParaRPr lang="de-DE"/>
        </a:p>
      </dgm:t>
    </dgm:pt>
    <dgm:pt modelId="{CAFBFCFD-5A32-4D9E-96F8-DE0F6A66174B}" type="pres">
      <dgm:prSet presAssocID="{4CB7774D-ACAE-4407-85B1-A04C5856EAA7}" presName="hierChild4" presStyleCnt="0"/>
      <dgm:spPr/>
    </dgm:pt>
    <dgm:pt modelId="{AB909C0D-0788-41CA-BC2A-04CE6A35B5D8}" type="pres">
      <dgm:prSet presAssocID="{79EA6C29-56A7-4AAC-84B0-599DB41E8752}" presName="Name35" presStyleLbl="parChTrans1D3" presStyleIdx="0" presStyleCnt="11"/>
      <dgm:spPr/>
      <dgm:t>
        <a:bodyPr/>
        <a:lstStyle/>
        <a:p>
          <a:endParaRPr lang="de-DE"/>
        </a:p>
      </dgm:t>
    </dgm:pt>
    <dgm:pt modelId="{F8BF5B03-34D7-4609-9988-7CC11A796CC0}" type="pres">
      <dgm:prSet presAssocID="{017FDAC5-2E5C-4267-B26F-C8BF3C51F54A}" presName="hierRoot2" presStyleCnt="0">
        <dgm:presLayoutVars>
          <dgm:hierBranch val="init"/>
        </dgm:presLayoutVars>
      </dgm:prSet>
      <dgm:spPr/>
    </dgm:pt>
    <dgm:pt modelId="{D06E9C8A-3F52-4BC6-B02E-F811A4CCFC4C}" type="pres">
      <dgm:prSet presAssocID="{017FDAC5-2E5C-4267-B26F-C8BF3C51F54A}" presName="rootComposite" presStyleCnt="0"/>
      <dgm:spPr/>
    </dgm:pt>
    <dgm:pt modelId="{7470010B-5E4A-4727-AF4B-3272C499A4E4}" type="pres">
      <dgm:prSet presAssocID="{017FDAC5-2E5C-4267-B26F-C8BF3C51F54A}" presName="rootText" presStyleLbl="node3" presStyleIdx="0" presStyleCnt="11" custScaleY="343383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F4B3C83-05D7-4385-B71D-7C0633CF44A2}" type="pres">
      <dgm:prSet presAssocID="{017FDAC5-2E5C-4267-B26F-C8BF3C51F54A}" presName="rootConnector" presStyleLbl="node3" presStyleIdx="0" presStyleCnt="11"/>
      <dgm:spPr/>
      <dgm:t>
        <a:bodyPr/>
        <a:lstStyle/>
        <a:p>
          <a:endParaRPr lang="de-DE"/>
        </a:p>
      </dgm:t>
    </dgm:pt>
    <dgm:pt modelId="{0B27BFFE-DE7F-4541-81E4-1C90C54F05C0}" type="pres">
      <dgm:prSet presAssocID="{017FDAC5-2E5C-4267-B26F-C8BF3C51F54A}" presName="hierChild4" presStyleCnt="0"/>
      <dgm:spPr/>
    </dgm:pt>
    <dgm:pt modelId="{0CC438EC-1BB3-45CF-8230-B9F2C747CCC7}" type="pres">
      <dgm:prSet presAssocID="{017FDAC5-2E5C-4267-B26F-C8BF3C51F54A}" presName="hierChild5" presStyleCnt="0"/>
      <dgm:spPr/>
    </dgm:pt>
    <dgm:pt modelId="{F5CF5D2E-FCE6-475B-B7EB-C414DEFE762C}" type="pres">
      <dgm:prSet presAssocID="{A705141B-4898-40C0-AF56-6429D866C6EB}" presName="Name35" presStyleLbl="parChTrans1D3" presStyleIdx="1" presStyleCnt="11"/>
      <dgm:spPr/>
      <dgm:t>
        <a:bodyPr/>
        <a:lstStyle/>
        <a:p>
          <a:endParaRPr lang="de-DE"/>
        </a:p>
      </dgm:t>
    </dgm:pt>
    <dgm:pt modelId="{9EB9926C-5AFE-41A2-8994-F5980F592DE0}" type="pres">
      <dgm:prSet presAssocID="{BADF6368-C9A2-4B4F-BD51-A22348BF2FF5}" presName="hierRoot2" presStyleCnt="0">
        <dgm:presLayoutVars>
          <dgm:hierBranch/>
        </dgm:presLayoutVars>
      </dgm:prSet>
      <dgm:spPr/>
    </dgm:pt>
    <dgm:pt modelId="{A9CF5462-E192-47F2-BD13-0968DA94F010}" type="pres">
      <dgm:prSet presAssocID="{BADF6368-C9A2-4B4F-BD51-A22348BF2FF5}" presName="rootComposite" presStyleCnt="0"/>
      <dgm:spPr/>
    </dgm:pt>
    <dgm:pt modelId="{1B7C6602-36C4-4CF5-923B-BBF40265C1CC}" type="pres">
      <dgm:prSet presAssocID="{BADF6368-C9A2-4B4F-BD51-A22348BF2FF5}" presName="rootText" presStyleLbl="node3" presStyleIdx="1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5E5E47FC-DD59-40B6-A3A5-CA6F30C758F1}" type="pres">
      <dgm:prSet presAssocID="{BADF6368-C9A2-4B4F-BD51-A22348BF2FF5}" presName="rootConnector" presStyleLbl="node3" presStyleIdx="1" presStyleCnt="11"/>
      <dgm:spPr/>
      <dgm:t>
        <a:bodyPr/>
        <a:lstStyle/>
        <a:p>
          <a:endParaRPr lang="de-DE"/>
        </a:p>
      </dgm:t>
    </dgm:pt>
    <dgm:pt modelId="{B88967BC-2A2C-495D-AB3E-77E31617144F}" type="pres">
      <dgm:prSet presAssocID="{BADF6368-C9A2-4B4F-BD51-A22348BF2FF5}" presName="hierChild4" presStyleCnt="0"/>
      <dgm:spPr/>
    </dgm:pt>
    <dgm:pt modelId="{4DE9FD6C-B1FE-450B-9009-AB14EF0CB034}" type="pres">
      <dgm:prSet presAssocID="{BADF6368-C9A2-4B4F-BD51-A22348BF2FF5}" presName="hierChild5" presStyleCnt="0"/>
      <dgm:spPr/>
    </dgm:pt>
    <dgm:pt modelId="{AC08C39E-9784-46C6-BC40-A57124CB8419}" type="pres">
      <dgm:prSet presAssocID="{17F81AC7-F98C-4C79-AEDE-DA6C13BC9660}" presName="Name35" presStyleLbl="parChTrans1D3" presStyleIdx="2" presStyleCnt="11"/>
      <dgm:spPr/>
      <dgm:t>
        <a:bodyPr/>
        <a:lstStyle/>
        <a:p>
          <a:endParaRPr lang="de-DE"/>
        </a:p>
      </dgm:t>
    </dgm:pt>
    <dgm:pt modelId="{F947884D-61C9-4F17-8313-E8ABC5722A47}" type="pres">
      <dgm:prSet presAssocID="{449FAACB-8AD8-44C1-BD3E-404521F031DD}" presName="hierRoot2" presStyleCnt="0">
        <dgm:presLayoutVars>
          <dgm:hierBranch val="r"/>
        </dgm:presLayoutVars>
      </dgm:prSet>
      <dgm:spPr/>
    </dgm:pt>
    <dgm:pt modelId="{AD77F8A3-0E53-4C63-86A9-623D8B473F16}" type="pres">
      <dgm:prSet presAssocID="{449FAACB-8AD8-44C1-BD3E-404521F031DD}" presName="rootComposite" presStyleCnt="0"/>
      <dgm:spPr/>
    </dgm:pt>
    <dgm:pt modelId="{A780E725-FB04-4C98-8674-107A36CE86C5}" type="pres">
      <dgm:prSet presAssocID="{449FAACB-8AD8-44C1-BD3E-404521F031DD}" presName="rootText" presStyleLbl="node3" presStyleIdx="2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6FA31F2-C2CC-4E9C-B9F1-EF088B6A47BA}" type="pres">
      <dgm:prSet presAssocID="{449FAACB-8AD8-44C1-BD3E-404521F031DD}" presName="rootConnector" presStyleLbl="node3" presStyleIdx="2" presStyleCnt="11"/>
      <dgm:spPr/>
      <dgm:t>
        <a:bodyPr/>
        <a:lstStyle/>
        <a:p>
          <a:endParaRPr lang="de-DE"/>
        </a:p>
      </dgm:t>
    </dgm:pt>
    <dgm:pt modelId="{F2C4E4AC-4BB0-4332-A22A-176F2F95107A}" type="pres">
      <dgm:prSet presAssocID="{449FAACB-8AD8-44C1-BD3E-404521F031DD}" presName="hierChild4" presStyleCnt="0"/>
      <dgm:spPr/>
    </dgm:pt>
    <dgm:pt modelId="{60E84B57-F40B-4F59-A2B0-FAF15077CED3}" type="pres">
      <dgm:prSet presAssocID="{449FAACB-8AD8-44C1-BD3E-404521F031DD}" presName="hierChild5" presStyleCnt="0"/>
      <dgm:spPr/>
    </dgm:pt>
    <dgm:pt modelId="{56F317A3-CECA-473A-8567-41B1ABA4E68D}" type="pres">
      <dgm:prSet presAssocID="{F15FFBC1-F38F-46AE-A991-53099771CC46}" presName="Name35" presStyleLbl="parChTrans1D3" presStyleIdx="3" presStyleCnt="11"/>
      <dgm:spPr/>
      <dgm:t>
        <a:bodyPr/>
        <a:lstStyle/>
        <a:p>
          <a:endParaRPr lang="de-DE"/>
        </a:p>
      </dgm:t>
    </dgm:pt>
    <dgm:pt modelId="{C4C000D3-8DF8-4C63-B00E-746AD8756E38}" type="pres">
      <dgm:prSet presAssocID="{07DD4598-DF06-4719-8319-84FA0AB51DAD}" presName="hierRoot2" presStyleCnt="0">
        <dgm:presLayoutVars>
          <dgm:hierBranch val="init"/>
        </dgm:presLayoutVars>
      </dgm:prSet>
      <dgm:spPr/>
    </dgm:pt>
    <dgm:pt modelId="{E5171533-13E0-4B73-B429-9AC20CC232E1}" type="pres">
      <dgm:prSet presAssocID="{07DD4598-DF06-4719-8319-84FA0AB51DAD}" presName="rootComposite" presStyleCnt="0"/>
      <dgm:spPr/>
    </dgm:pt>
    <dgm:pt modelId="{460E0A90-0521-47E6-89E5-C70A21A71710}" type="pres">
      <dgm:prSet presAssocID="{07DD4598-DF06-4719-8319-84FA0AB51DAD}" presName="rootText" presStyleLbl="node3" presStyleIdx="3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93851EAA-056E-4B02-92C3-E8787BC23A73}" type="pres">
      <dgm:prSet presAssocID="{07DD4598-DF06-4719-8319-84FA0AB51DAD}" presName="rootConnector" presStyleLbl="node3" presStyleIdx="3" presStyleCnt="11"/>
      <dgm:spPr/>
      <dgm:t>
        <a:bodyPr/>
        <a:lstStyle/>
        <a:p>
          <a:endParaRPr lang="de-DE"/>
        </a:p>
      </dgm:t>
    </dgm:pt>
    <dgm:pt modelId="{8305A172-406F-4247-AD9C-9CFBBB60807D}" type="pres">
      <dgm:prSet presAssocID="{07DD4598-DF06-4719-8319-84FA0AB51DAD}" presName="hierChild4" presStyleCnt="0"/>
      <dgm:spPr/>
    </dgm:pt>
    <dgm:pt modelId="{B10BF75F-2640-4A37-A1BF-809CBF267D83}" type="pres">
      <dgm:prSet presAssocID="{07DD4598-DF06-4719-8319-84FA0AB51DAD}" presName="hierChild5" presStyleCnt="0"/>
      <dgm:spPr/>
    </dgm:pt>
    <dgm:pt modelId="{071C890C-31B7-4BA4-9988-7CE4F6FD93C2}" type="pres">
      <dgm:prSet presAssocID="{05A96DBF-6D28-4F7A-A280-F61E228F2892}" presName="Name35" presStyleLbl="parChTrans1D3" presStyleIdx="4" presStyleCnt="11"/>
      <dgm:spPr/>
      <dgm:t>
        <a:bodyPr/>
        <a:lstStyle/>
        <a:p>
          <a:endParaRPr lang="de-DE"/>
        </a:p>
      </dgm:t>
    </dgm:pt>
    <dgm:pt modelId="{6C16B5EB-4625-4703-BCD8-28CA50787CB0}" type="pres">
      <dgm:prSet presAssocID="{6E2D64F5-25A9-446A-95C8-0A13B3A01AB4}" presName="hierRoot2" presStyleCnt="0">
        <dgm:presLayoutVars>
          <dgm:hierBranch val="init"/>
        </dgm:presLayoutVars>
      </dgm:prSet>
      <dgm:spPr/>
    </dgm:pt>
    <dgm:pt modelId="{16EBB844-716B-44B8-A72F-545461E9D0B9}" type="pres">
      <dgm:prSet presAssocID="{6E2D64F5-25A9-446A-95C8-0A13B3A01AB4}" presName="rootComposite" presStyleCnt="0"/>
      <dgm:spPr/>
    </dgm:pt>
    <dgm:pt modelId="{D5B9E64C-DA8E-40AE-AA34-DFBCEDFFA129}" type="pres">
      <dgm:prSet presAssocID="{6E2D64F5-25A9-446A-95C8-0A13B3A01AB4}" presName="rootText" presStyleLbl="node3" presStyleIdx="4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B296E06-0015-46BC-A584-CD29D8435C60}" type="pres">
      <dgm:prSet presAssocID="{6E2D64F5-25A9-446A-95C8-0A13B3A01AB4}" presName="rootConnector" presStyleLbl="node3" presStyleIdx="4" presStyleCnt="11"/>
      <dgm:spPr/>
      <dgm:t>
        <a:bodyPr/>
        <a:lstStyle/>
        <a:p>
          <a:endParaRPr lang="de-DE"/>
        </a:p>
      </dgm:t>
    </dgm:pt>
    <dgm:pt modelId="{CD8E549E-7422-4393-9D6B-11F2BF7CECC9}" type="pres">
      <dgm:prSet presAssocID="{6E2D64F5-25A9-446A-95C8-0A13B3A01AB4}" presName="hierChild4" presStyleCnt="0"/>
      <dgm:spPr/>
    </dgm:pt>
    <dgm:pt modelId="{CF42DDDF-E03E-439A-962C-2FCBA7DE61B5}" type="pres">
      <dgm:prSet presAssocID="{6E2D64F5-25A9-446A-95C8-0A13B3A01AB4}" presName="hierChild5" presStyleCnt="0"/>
      <dgm:spPr/>
    </dgm:pt>
    <dgm:pt modelId="{4E4969E8-8ADD-4CAC-89FF-D71CFE957B26}" type="pres">
      <dgm:prSet presAssocID="{CF9C4239-170A-418B-BECF-4B3A23002970}" presName="Name35" presStyleLbl="parChTrans1D3" presStyleIdx="5" presStyleCnt="11"/>
      <dgm:spPr/>
      <dgm:t>
        <a:bodyPr/>
        <a:lstStyle/>
        <a:p>
          <a:endParaRPr lang="de-DE"/>
        </a:p>
      </dgm:t>
    </dgm:pt>
    <dgm:pt modelId="{234CE14D-EEE3-4481-9539-4B6EEC422AE1}" type="pres">
      <dgm:prSet presAssocID="{ACCF9690-BF80-4CF9-93C5-7F3F09600EB0}" presName="hierRoot2" presStyleCnt="0">
        <dgm:presLayoutVars>
          <dgm:hierBranch val="init"/>
        </dgm:presLayoutVars>
      </dgm:prSet>
      <dgm:spPr/>
    </dgm:pt>
    <dgm:pt modelId="{16A6E8EE-531C-4407-9E31-2D0A5BA44414}" type="pres">
      <dgm:prSet presAssocID="{ACCF9690-BF80-4CF9-93C5-7F3F09600EB0}" presName="rootComposite" presStyleCnt="0"/>
      <dgm:spPr/>
    </dgm:pt>
    <dgm:pt modelId="{0B1C0C4E-CC73-4891-93E4-52C321ED2403}" type="pres">
      <dgm:prSet presAssocID="{ACCF9690-BF80-4CF9-93C5-7F3F09600EB0}" presName="rootText" presStyleLbl="node3" presStyleIdx="5" presStyleCnt="11" custScaleY="343534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F4C50241-89BB-468F-BEA5-D28104DA71B3}" type="pres">
      <dgm:prSet presAssocID="{ACCF9690-BF80-4CF9-93C5-7F3F09600EB0}" presName="rootConnector" presStyleLbl="node3" presStyleIdx="5" presStyleCnt="11"/>
      <dgm:spPr/>
      <dgm:t>
        <a:bodyPr/>
        <a:lstStyle/>
        <a:p>
          <a:endParaRPr lang="de-DE"/>
        </a:p>
      </dgm:t>
    </dgm:pt>
    <dgm:pt modelId="{78284204-B078-4620-BA26-545F92BB943E}" type="pres">
      <dgm:prSet presAssocID="{ACCF9690-BF80-4CF9-93C5-7F3F09600EB0}" presName="hierChild4" presStyleCnt="0"/>
      <dgm:spPr/>
    </dgm:pt>
    <dgm:pt modelId="{267234E5-6584-417A-9D0A-FE531E489862}" type="pres">
      <dgm:prSet presAssocID="{ACCF9690-BF80-4CF9-93C5-7F3F09600EB0}" presName="hierChild5" presStyleCnt="0"/>
      <dgm:spPr/>
    </dgm:pt>
    <dgm:pt modelId="{F24E997F-71E4-4EA7-B323-53C38E330A59}" type="pres">
      <dgm:prSet presAssocID="{24127FD0-7B4F-49B3-9C1E-E3C9B43B21F1}" presName="Name35" presStyleLbl="parChTrans1D3" presStyleIdx="6" presStyleCnt="11"/>
      <dgm:spPr/>
      <dgm:t>
        <a:bodyPr/>
        <a:lstStyle/>
        <a:p>
          <a:endParaRPr lang="de-DE"/>
        </a:p>
      </dgm:t>
    </dgm:pt>
    <dgm:pt modelId="{0AB53511-2B01-4162-BB0D-82510CE927E1}" type="pres">
      <dgm:prSet presAssocID="{887167D1-0A48-4472-B0BC-33D340D601AD}" presName="hierRoot2" presStyleCnt="0">
        <dgm:presLayoutVars>
          <dgm:hierBranch val="init"/>
        </dgm:presLayoutVars>
      </dgm:prSet>
      <dgm:spPr/>
    </dgm:pt>
    <dgm:pt modelId="{8D05FFDD-29D2-4D32-BA83-9D0190345B0E}" type="pres">
      <dgm:prSet presAssocID="{887167D1-0A48-4472-B0BC-33D340D601AD}" presName="rootComposite" presStyleCnt="0"/>
      <dgm:spPr/>
    </dgm:pt>
    <dgm:pt modelId="{999DB62E-3CDC-43DB-87B6-21F1014E2888}" type="pres">
      <dgm:prSet presAssocID="{887167D1-0A48-4472-B0BC-33D340D601AD}" presName="rootText" presStyleLbl="node3" presStyleIdx="6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983F691-A2CA-4A5D-AFBE-7E8632618A13}" type="pres">
      <dgm:prSet presAssocID="{887167D1-0A48-4472-B0BC-33D340D601AD}" presName="rootConnector" presStyleLbl="node3" presStyleIdx="6" presStyleCnt="11"/>
      <dgm:spPr/>
      <dgm:t>
        <a:bodyPr/>
        <a:lstStyle/>
        <a:p>
          <a:endParaRPr lang="de-DE"/>
        </a:p>
      </dgm:t>
    </dgm:pt>
    <dgm:pt modelId="{1819B677-B365-4C48-8BC3-F8F26DC1A95E}" type="pres">
      <dgm:prSet presAssocID="{887167D1-0A48-4472-B0BC-33D340D601AD}" presName="hierChild4" presStyleCnt="0"/>
      <dgm:spPr/>
    </dgm:pt>
    <dgm:pt modelId="{D4BE5A34-5187-462F-AE90-A06307F90CE6}" type="pres">
      <dgm:prSet presAssocID="{887167D1-0A48-4472-B0BC-33D340D601AD}" presName="hierChild5" presStyleCnt="0"/>
      <dgm:spPr/>
    </dgm:pt>
    <dgm:pt modelId="{BEBFDBA5-3C59-458E-A11A-9A6706791714}" type="pres">
      <dgm:prSet presAssocID="{4CB7774D-ACAE-4407-85B1-A04C5856EAA7}" presName="hierChild5" presStyleCnt="0"/>
      <dgm:spPr/>
    </dgm:pt>
    <dgm:pt modelId="{67647301-4A8A-4960-BCE7-BF044836B306}" type="pres">
      <dgm:prSet presAssocID="{2A337AA1-B8AB-419F-A044-1C6494D2EB9D}" presName="Name35" presStyleLbl="parChTrans1D2" presStyleIdx="1" presStyleCnt="4"/>
      <dgm:spPr/>
      <dgm:t>
        <a:bodyPr/>
        <a:lstStyle/>
        <a:p>
          <a:endParaRPr lang="de-DE"/>
        </a:p>
      </dgm:t>
    </dgm:pt>
    <dgm:pt modelId="{4821A190-92E1-476B-9C1B-C79E241E8420}" type="pres">
      <dgm:prSet presAssocID="{7DFE66D6-E14C-49C7-ACB3-551DCFC8FA04}" presName="hierRoot2" presStyleCnt="0">
        <dgm:presLayoutVars>
          <dgm:hierBranch/>
        </dgm:presLayoutVars>
      </dgm:prSet>
      <dgm:spPr/>
    </dgm:pt>
    <dgm:pt modelId="{8F0C610B-2ADD-483B-804B-C870E7B2F9D4}" type="pres">
      <dgm:prSet presAssocID="{7DFE66D6-E14C-49C7-ACB3-551DCFC8FA04}" presName="rootComposite" presStyleCnt="0"/>
      <dgm:spPr/>
    </dgm:pt>
    <dgm:pt modelId="{2872A469-555A-4465-A4BE-DB8E05B77CB3}" type="pres">
      <dgm:prSet presAssocID="{7DFE66D6-E14C-49C7-ACB3-551DCFC8FA04}" presName="rootText" presStyleLbl="node2" presStyleIdx="1" presStyleCnt="4" custScaleX="137864" custScaleY="169679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33D778B-59DF-4977-8E82-5C7990893923}" type="pres">
      <dgm:prSet presAssocID="{7DFE66D6-E14C-49C7-ACB3-551DCFC8FA04}" presName="rootConnector" presStyleLbl="node2" presStyleIdx="1" presStyleCnt="4"/>
      <dgm:spPr/>
      <dgm:t>
        <a:bodyPr/>
        <a:lstStyle/>
        <a:p>
          <a:endParaRPr lang="de-DE"/>
        </a:p>
      </dgm:t>
    </dgm:pt>
    <dgm:pt modelId="{DD6E4FDA-01F7-494E-9B55-BDF56E471200}" type="pres">
      <dgm:prSet presAssocID="{7DFE66D6-E14C-49C7-ACB3-551DCFC8FA04}" presName="hierChild4" presStyleCnt="0"/>
      <dgm:spPr/>
    </dgm:pt>
    <dgm:pt modelId="{CC347602-F71F-406A-BB89-73CD577746AB}" type="pres">
      <dgm:prSet presAssocID="{C2083E85-EADE-415A-849F-BA85D79F5797}" presName="Name35" presStyleLbl="parChTrans1D3" presStyleIdx="7" presStyleCnt="11"/>
      <dgm:spPr/>
      <dgm:t>
        <a:bodyPr/>
        <a:lstStyle/>
        <a:p>
          <a:endParaRPr lang="de-DE"/>
        </a:p>
      </dgm:t>
    </dgm:pt>
    <dgm:pt modelId="{051199FA-C871-40C6-84ED-C46268AF212E}" type="pres">
      <dgm:prSet presAssocID="{57FD3D86-6FCD-4616-86B8-CC27EF5B532A}" presName="hierRoot2" presStyleCnt="0">
        <dgm:presLayoutVars>
          <dgm:hierBranch val="r"/>
        </dgm:presLayoutVars>
      </dgm:prSet>
      <dgm:spPr/>
    </dgm:pt>
    <dgm:pt modelId="{36CF01E2-A955-4512-A465-C1985761DD22}" type="pres">
      <dgm:prSet presAssocID="{57FD3D86-6FCD-4616-86B8-CC27EF5B532A}" presName="rootComposite" presStyleCnt="0"/>
      <dgm:spPr/>
    </dgm:pt>
    <dgm:pt modelId="{BFF9B4BA-F104-4C10-A67F-392C88E9766D}" type="pres">
      <dgm:prSet presAssocID="{57FD3D86-6FCD-4616-86B8-CC27EF5B532A}" presName="rootText" presStyleLbl="node3" presStyleIdx="7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B59253F-2FAD-41E4-8AF3-3D7258EA4529}" type="pres">
      <dgm:prSet presAssocID="{57FD3D86-6FCD-4616-86B8-CC27EF5B532A}" presName="rootConnector" presStyleLbl="node3" presStyleIdx="7" presStyleCnt="11"/>
      <dgm:spPr/>
      <dgm:t>
        <a:bodyPr/>
        <a:lstStyle/>
        <a:p>
          <a:endParaRPr lang="de-DE"/>
        </a:p>
      </dgm:t>
    </dgm:pt>
    <dgm:pt modelId="{AB7728D5-F0C1-4280-9E56-0AB811D6FAE5}" type="pres">
      <dgm:prSet presAssocID="{57FD3D86-6FCD-4616-86B8-CC27EF5B532A}" presName="hierChild4" presStyleCnt="0"/>
      <dgm:spPr/>
    </dgm:pt>
    <dgm:pt modelId="{74127188-4CF0-4A52-AA82-79E2A752D44E}" type="pres">
      <dgm:prSet presAssocID="{57FD3D86-6FCD-4616-86B8-CC27EF5B532A}" presName="hierChild5" presStyleCnt="0"/>
      <dgm:spPr/>
    </dgm:pt>
    <dgm:pt modelId="{861DAF22-06F6-40E5-A9EA-DC6BF396B669}" type="pres">
      <dgm:prSet presAssocID="{7DFE66D6-E14C-49C7-ACB3-551DCFC8FA04}" presName="hierChild5" presStyleCnt="0"/>
      <dgm:spPr/>
    </dgm:pt>
    <dgm:pt modelId="{C1FBC138-D180-422A-A48B-331D4470A2B6}" type="pres">
      <dgm:prSet presAssocID="{388C726F-4F37-4CA6-ABD6-7DE478360A71}" presName="Name35" presStyleLbl="parChTrans1D2" presStyleIdx="2" presStyleCnt="4"/>
      <dgm:spPr/>
      <dgm:t>
        <a:bodyPr/>
        <a:lstStyle/>
        <a:p>
          <a:endParaRPr lang="de-DE"/>
        </a:p>
      </dgm:t>
    </dgm:pt>
    <dgm:pt modelId="{060C8E22-EA56-42AF-A61E-AB069BCC37A5}" type="pres">
      <dgm:prSet presAssocID="{1FFE048B-868E-4433-B886-C9FA89FFC0DC}" presName="hierRoot2" presStyleCnt="0">
        <dgm:presLayoutVars>
          <dgm:hierBranch/>
        </dgm:presLayoutVars>
      </dgm:prSet>
      <dgm:spPr/>
    </dgm:pt>
    <dgm:pt modelId="{AC95B4BB-C218-4D53-AC18-D89CD29BB11E}" type="pres">
      <dgm:prSet presAssocID="{1FFE048B-868E-4433-B886-C9FA89FFC0DC}" presName="rootComposite" presStyleCnt="0"/>
      <dgm:spPr/>
    </dgm:pt>
    <dgm:pt modelId="{F2998657-FCE0-4464-8F1B-B42FACE656FF}" type="pres">
      <dgm:prSet presAssocID="{1FFE048B-868E-4433-B886-C9FA89FFC0DC}" presName="rootText" presStyleLbl="node2" presStyleIdx="2" presStyleCnt="4" custScaleX="137864" custScaleY="169679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B61E443-2BD1-4769-BEA4-EE1C1E90C4FB}" type="pres">
      <dgm:prSet presAssocID="{1FFE048B-868E-4433-B886-C9FA89FFC0DC}" presName="rootConnector" presStyleLbl="node2" presStyleIdx="2" presStyleCnt="4"/>
      <dgm:spPr/>
      <dgm:t>
        <a:bodyPr/>
        <a:lstStyle/>
        <a:p>
          <a:endParaRPr lang="de-DE"/>
        </a:p>
      </dgm:t>
    </dgm:pt>
    <dgm:pt modelId="{75B2A5FE-0341-4328-8D48-C39EA6C6D92C}" type="pres">
      <dgm:prSet presAssocID="{1FFE048B-868E-4433-B886-C9FA89FFC0DC}" presName="hierChild4" presStyleCnt="0"/>
      <dgm:spPr/>
    </dgm:pt>
    <dgm:pt modelId="{3BE30DF5-5F70-4265-8D49-777130B62C17}" type="pres">
      <dgm:prSet presAssocID="{DE3B26A5-1691-41AB-9D3F-E57205407A48}" presName="Name35" presStyleLbl="parChTrans1D3" presStyleIdx="8" presStyleCnt="11"/>
      <dgm:spPr/>
      <dgm:t>
        <a:bodyPr/>
        <a:lstStyle/>
        <a:p>
          <a:endParaRPr lang="de-DE"/>
        </a:p>
      </dgm:t>
    </dgm:pt>
    <dgm:pt modelId="{775609E4-AA73-4968-95A1-5D32E2CAFB31}" type="pres">
      <dgm:prSet presAssocID="{1CBB769A-1834-4BBD-9056-6841C32F9C32}" presName="hierRoot2" presStyleCnt="0">
        <dgm:presLayoutVars>
          <dgm:hierBranch/>
        </dgm:presLayoutVars>
      </dgm:prSet>
      <dgm:spPr/>
    </dgm:pt>
    <dgm:pt modelId="{13C47631-4FAC-46C8-A499-AEC7754B5A2C}" type="pres">
      <dgm:prSet presAssocID="{1CBB769A-1834-4BBD-9056-6841C32F9C32}" presName="rootComposite" presStyleCnt="0"/>
      <dgm:spPr/>
    </dgm:pt>
    <dgm:pt modelId="{8CD4369D-16C0-443C-A673-345A68B0CDBB}" type="pres">
      <dgm:prSet presAssocID="{1CBB769A-1834-4BBD-9056-6841C32F9C32}" presName="rootText" presStyleLbl="node3" presStyleIdx="8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E4D552E-3F1C-4D74-AF64-A08BDB5EFA5B}" type="pres">
      <dgm:prSet presAssocID="{1CBB769A-1834-4BBD-9056-6841C32F9C32}" presName="rootConnector" presStyleLbl="node3" presStyleIdx="8" presStyleCnt="11"/>
      <dgm:spPr/>
      <dgm:t>
        <a:bodyPr/>
        <a:lstStyle/>
        <a:p>
          <a:endParaRPr lang="de-DE"/>
        </a:p>
      </dgm:t>
    </dgm:pt>
    <dgm:pt modelId="{628B7E9B-C795-4ADD-93CC-A3C448418B4E}" type="pres">
      <dgm:prSet presAssocID="{1CBB769A-1834-4BBD-9056-6841C32F9C32}" presName="hierChild4" presStyleCnt="0"/>
      <dgm:spPr/>
    </dgm:pt>
    <dgm:pt modelId="{1ACA0327-6CE0-4685-89CC-0531CCF6E7A0}" type="pres">
      <dgm:prSet presAssocID="{1CBB769A-1834-4BBD-9056-6841C32F9C32}" presName="hierChild5" presStyleCnt="0"/>
      <dgm:spPr/>
    </dgm:pt>
    <dgm:pt modelId="{71D6434C-D916-4962-AF05-9DBE7ABE9306}" type="pres">
      <dgm:prSet presAssocID="{17B6B2D0-7E3C-43B3-865F-8EE97354BA1A}" presName="Name35" presStyleLbl="parChTrans1D3" presStyleIdx="9" presStyleCnt="11"/>
      <dgm:spPr/>
      <dgm:t>
        <a:bodyPr/>
        <a:lstStyle/>
        <a:p>
          <a:endParaRPr lang="de-DE"/>
        </a:p>
      </dgm:t>
    </dgm:pt>
    <dgm:pt modelId="{F4A026A5-493A-42BF-AE29-9D5CC54E640D}" type="pres">
      <dgm:prSet presAssocID="{AF47FE41-5828-4C7C-A6AE-64A416CCC2F8}" presName="hierRoot2" presStyleCnt="0">
        <dgm:presLayoutVars>
          <dgm:hierBranch val="init"/>
        </dgm:presLayoutVars>
      </dgm:prSet>
      <dgm:spPr/>
    </dgm:pt>
    <dgm:pt modelId="{81CA6DD3-3616-4825-A609-B5463C0265B4}" type="pres">
      <dgm:prSet presAssocID="{AF47FE41-5828-4C7C-A6AE-64A416CCC2F8}" presName="rootComposite" presStyleCnt="0"/>
      <dgm:spPr/>
    </dgm:pt>
    <dgm:pt modelId="{B6DE9EC5-6612-404C-87BC-A12434FEADEA}" type="pres">
      <dgm:prSet presAssocID="{AF47FE41-5828-4C7C-A6AE-64A416CCC2F8}" presName="rootText" presStyleLbl="node3" presStyleIdx="9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D491545-F1F8-4110-BD5C-E25AC3110330}" type="pres">
      <dgm:prSet presAssocID="{AF47FE41-5828-4C7C-A6AE-64A416CCC2F8}" presName="rootConnector" presStyleLbl="node3" presStyleIdx="9" presStyleCnt="11"/>
      <dgm:spPr/>
      <dgm:t>
        <a:bodyPr/>
        <a:lstStyle/>
        <a:p>
          <a:endParaRPr lang="de-DE"/>
        </a:p>
      </dgm:t>
    </dgm:pt>
    <dgm:pt modelId="{DF87907A-87D9-4AE5-85BD-CFA81B04B9B8}" type="pres">
      <dgm:prSet presAssocID="{AF47FE41-5828-4C7C-A6AE-64A416CCC2F8}" presName="hierChild4" presStyleCnt="0"/>
      <dgm:spPr/>
    </dgm:pt>
    <dgm:pt modelId="{0BD2B3C3-08EE-4D63-A425-1F4CF4486428}" type="pres">
      <dgm:prSet presAssocID="{AF47FE41-5828-4C7C-A6AE-64A416CCC2F8}" presName="hierChild5" presStyleCnt="0"/>
      <dgm:spPr/>
    </dgm:pt>
    <dgm:pt modelId="{642F3B22-B826-48A2-8BCF-D6AE8F05A130}" type="pres">
      <dgm:prSet presAssocID="{1FFE048B-868E-4433-B886-C9FA89FFC0DC}" presName="hierChild5" presStyleCnt="0"/>
      <dgm:spPr/>
    </dgm:pt>
    <dgm:pt modelId="{3A073ED1-CDD7-45A6-B86E-398A96E12816}" type="pres">
      <dgm:prSet presAssocID="{A55D4639-4932-431A-A949-8B873B116928}" presName="Name35" presStyleLbl="parChTrans1D2" presStyleIdx="3" presStyleCnt="4"/>
      <dgm:spPr/>
      <dgm:t>
        <a:bodyPr/>
        <a:lstStyle/>
        <a:p>
          <a:endParaRPr lang="de-DE"/>
        </a:p>
      </dgm:t>
    </dgm:pt>
    <dgm:pt modelId="{B3E33F02-1A09-405F-8029-D7147C5A9177}" type="pres">
      <dgm:prSet presAssocID="{DDC853E0-49BC-4905-AAB7-DC44415BE22F}" presName="hierRoot2" presStyleCnt="0">
        <dgm:presLayoutVars>
          <dgm:hierBranch/>
        </dgm:presLayoutVars>
      </dgm:prSet>
      <dgm:spPr/>
    </dgm:pt>
    <dgm:pt modelId="{C5F08E65-4B02-4FF8-B2EE-1B7B6E00F1EA}" type="pres">
      <dgm:prSet presAssocID="{DDC853E0-49BC-4905-AAB7-DC44415BE22F}" presName="rootComposite" presStyleCnt="0"/>
      <dgm:spPr/>
    </dgm:pt>
    <dgm:pt modelId="{3BFC7581-D0ED-4A79-8825-9CEA52F751D0}" type="pres">
      <dgm:prSet presAssocID="{DDC853E0-49BC-4905-AAB7-DC44415BE22F}" presName="rootText" presStyleLbl="node2" presStyleIdx="3" presStyleCnt="4" custScaleX="137864" custScaleY="169679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D2E62CDC-D875-46FB-AD5B-8D9C8E7C5A05}" type="pres">
      <dgm:prSet presAssocID="{DDC853E0-49BC-4905-AAB7-DC44415BE22F}" presName="rootConnector" presStyleLbl="node2" presStyleIdx="3" presStyleCnt="4"/>
      <dgm:spPr/>
      <dgm:t>
        <a:bodyPr/>
        <a:lstStyle/>
        <a:p>
          <a:endParaRPr lang="de-DE"/>
        </a:p>
      </dgm:t>
    </dgm:pt>
    <dgm:pt modelId="{75741C93-3A96-45B2-A7DF-C4745E871F85}" type="pres">
      <dgm:prSet presAssocID="{DDC853E0-49BC-4905-AAB7-DC44415BE22F}" presName="hierChild4" presStyleCnt="0"/>
      <dgm:spPr/>
    </dgm:pt>
    <dgm:pt modelId="{620F2DCB-FCE7-40D2-B9C9-6905165273A3}" type="pres">
      <dgm:prSet presAssocID="{40501C84-D1F1-4998-AD19-377A4C915C7C}" presName="Name35" presStyleLbl="parChTrans1D3" presStyleIdx="10" presStyleCnt="11"/>
      <dgm:spPr/>
      <dgm:t>
        <a:bodyPr/>
        <a:lstStyle/>
        <a:p>
          <a:endParaRPr lang="de-DE"/>
        </a:p>
      </dgm:t>
    </dgm:pt>
    <dgm:pt modelId="{49D30F07-94CA-4DBA-8DB0-E33F8B4CE750}" type="pres">
      <dgm:prSet presAssocID="{D86ABC1E-15F0-49C7-97C5-A6E71008C0D3}" presName="hierRoot2" presStyleCnt="0">
        <dgm:presLayoutVars>
          <dgm:hierBranch val="hang"/>
        </dgm:presLayoutVars>
      </dgm:prSet>
      <dgm:spPr/>
    </dgm:pt>
    <dgm:pt modelId="{DA14C588-D7E3-4FDC-B83E-7001649A8808}" type="pres">
      <dgm:prSet presAssocID="{D86ABC1E-15F0-49C7-97C5-A6E71008C0D3}" presName="rootComposite" presStyleCnt="0"/>
      <dgm:spPr/>
    </dgm:pt>
    <dgm:pt modelId="{F9DDFEF2-2C3B-428A-B10D-1609267618B1}" type="pres">
      <dgm:prSet presAssocID="{D86ABC1E-15F0-49C7-97C5-A6E71008C0D3}" presName="rootText" presStyleLbl="node3" presStyleIdx="10" presStyleCnt="11" custScaleY="339357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EA23C9B9-7858-4146-BF78-646D9AD1C8CA}" type="pres">
      <dgm:prSet presAssocID="{D86ABC1E-15F0-49C7-97C5-A6E71008C0D3}" presName="rootConnector" presStyleLbl="node3" presStyleIdx="10" presStyleCnt="11"/>
      <dgm:spPr/>
      <dgm:t>
        <a:bodyPr/>
        <a:lstStyle/>
        <a:p>
          <a:endParaRPr lang="de-DE"/>
        </a:p>
      </dgm:t>
    </dgm:pt>
    <dgm:pt modelId="{91B6B720-3EF0-48D1-8ED2-6AA43C84ED13}" type="pres">
      <dgm:prSet presAssocID="{D86ABC1E-15F0-49C7-97C5-A6E71008C0D3}" presName="hierChild4" presStyleCnt="0"/>
      <dgm:spPr/>
    </dgm:pt>
    <dgm:pt modelId="{21F08746-FCC7-46D3-BDBF-9114CA426C96}" type="pres">
      <dgm:prSet presAssocID="{D86ABC1E-15F0-49C7-97C5-A6E71008C0D3}" presName="hierChild5" presStyleCnt="0"/>
      <dgm:spPr/>
    </dgm:pt>
    <dgm:pt modelId="{FD23C769-0A6D-413A-9A00-F8CD8CE40E8E}" type="pres">
      <dgm:prSet presAssocID="{DDC853E0-49BC-4905-AAB7-DC44415BE22F}" presName="hierChild5" presStyleCnt="0"/>
      <dgm:spPr/>
    </dgm:pt>
    <dgm:pt modelId="{0632439C-E919-4198-9A9A-580B7DD92D28}" type="pres">
      <dgm:prSet presAssocID="{FE0BB734-60A2-4994-9EDD-835D117FB4DD}" presName="hierChild3" presStyleCnt="0"/>
      <dgm:spPr/>
    </dgm:pt>
  </dgm:ptLst>
  <dgm:cxnLst>
    <dgm:cxn modelId="{680F341A-4582-4243-B897-ACA988440E7D}" srcId="{4CB7774D-ACAE-4407-85B1-A04C5856EAA7}" destId="{449FAACB-8AD8-44C1-BD3E-404521F031DD}" srcOrd="2" destOrd="0" parTransId="{17F81AC7-F98C-4C79-AEDE-DA6C13BC9660}" sibTransId="{DB926B21-23C5-4221-8404-85E953737A33}"/>
    <dgm:cxn modelId="{118D9811-BABE-41DF-A129-8E83102B0CF7}" type="presOf" srcId="{6E2D64F5-25A9-446A-95C8-0A13B3A01AB4}" destId="{0B296E06-0015-46BC-A584-CD29D8435C60}" srcOrd="1" destOrd="0" presId="urn:microsoft.com/office/officeart/2005/8/layout/orgChart1"/>
    <dgm:cxn modelId="{6BE76FA7-D9B4-4C68-83D6-6CBCC4D0F89B}" type="presOf" srcId="{388C726F-4F37-4CA6-ABD6-7DE478360A71}" destId="{C1FBC138-D180-422A-A48B-331D4470A2B6}" srcOrd="0" destOrd="0" presId="urn:microsoft.com/office/officeart/2005/8/layout/orgChart1"/>
    <dgm:cxn modelId="{D284743A-A9FC-413E-A2F8-17817C5DE57F}" type="presOf" srcId="{ACCF9690-BF80-4CF9-93C5-7F3F09600EB0}" destId="{0B1C0C4E-CC73-4891-93E4-52C321ED2403}" srcOrd="0" destOrd="0" presId="urn:microsoft.com/office/officeart/2005/8/layout/orgChart1"/>
    <dgm:cxn modelId="{409ADF89-00DF-48CE-81FA-1D3E719008BA}" type="presOf" srcId="{4CB7774D-ACAE-4407-85B1-A04C5856EAA7}" destId="{C108067C-007A-4A28-95CF-5EF5BEA3611D}" srcOrd="1" destOrd="0" presId="urn:microsoft.com/office/officeart/2005/8/layout/orgChart1"/>
    <dgm:cxn modelId="{9A01CA6A-7EE4-49BD-83DB-9BB606F3B833}" type="presOf" srcId="{AF47FE41-5828-4C7C-A6AE-64A416CCC2F8}" destId="{AD491545-F1F8-4110-BD5C-E25AC3110330}" srcOrd="1" destOrd="0" presId="urn:microsoft.com/office/officeart/2005/8/layout/orgChart1"/>
    <dgm:cxn modelId="{6DB88FA1-1CEA-468C-9728-35507DFF1708}" type="presOf" srcId="{F15FFBC1-F38F-46AE-A991-53099771CC46}" destId="{56F317A3-CECA-473A-8567-41B1ABA4E68D}" srcOrd="0" destOrd="0" presId="urn:microsoft.com/office/officeart/2005/8/layout/orgChart1"/>
    <dgm:cxn modelId="{5729027B-CB0E-40A0-89A9-338A79BE5588}" srcId="{4CB7774D-ACAE-4407-85B1-A04C5856EAA7}" destId="{BADF6368-C9A2-4B4F-BD51-A22348BF2FF5}" srcOrd="1" destOrd="0" parTransId="{A705141B-4898-40C0-AF56-6429D866C6EB}" sibTransId="{620C6BED-2E18-40F0-A900-C5C02D9D7F93}"/>
    <dgm:cxn modelId="{629D6439-515F-4010-A65F-B0FF145D1E22}" type="presOf" srcId="{A705141B-4898-40C0-AF56-6429D866C6EB}" destId="{F5CF5D2E-FCE6-475B-B7EB-C414DEFE762C}" srcOrd="0" destOrd="0" presId="urn:microsoft.com/office/officeart/2005/8/layout/orgChart1"/>
    <dgm:cxn modelId="{E90EE21C-D81B-4BD4-9F26-DBD62FFF4D46}" type="presOf" srcId="{79EA6C29-56A7-4AAC-84B0-599DB41E8752}" destId="{AB909C0D-0788-41CA-BC2A-04CE6A35B5D8}" srcOrd="0" destOrd="0" presId="urn:microsoft.com/office/officeart/2005/8/layout/orgChart1"/>
    <dgm:cxn modelId="{42EFAA6A-5C9E-422E-8E88-9B2CBB4F9A0F}" type="presOf" srcId="{40501C84-D1F1-4998-AD19-377A4C915C7C}" destId="{620F2DCB-FCE7-40D2-B9C9-6905165273A3}" srcOrd="0" destOrd="0" presId="urn:microsoft.com/office/officeart/2005/8/layout/orgChart1"/>
    <dgm:cxn modelId="{D58F450A-FEF8-4BFA-804A-A6A3AC98384A}" type="presOf" srcId="{D86ABC1E-15F0-49C7-97C5-A6E71008C0D3}" destId="{F9DDFEF2-2C3B-428A-B10D-1609267618B1}" srcOrd="0" destOrd="0" presId="urn:microsoft.com/office/officeart/2005/8/layout/orgChart1"/>
    <dgm:cxn modelId="{983312E6-E28E-4E19-AF37-02A3CC27D243}" type="presOf" srcId="{BADF6368-C9A2-4B4F-BD51-A22348BF2FF5}" destId="{5E5E47FC-DD59-40B6-A3A5-CA6F30C758F1}" srcOrd="1" destOrd="0" presId="urn:microsoft.com/office/officeart/2005/8/layout/orgChart1"/>
    <dgm:cxn modelId="{751AE509-BD67-49CE-9A8B-F955A439EE89}" srcId="{1FFE048B-868E-4433-B886-C9FA89FFC0DC}" destId="{1CBB769A-1834-4BBD-9056-6841C32F9C32}" srcOrd="0" destOrd="0" parTransId="{DE3B26A5-1691-41AB-9D3F-E57205407A48}" sibTransId="{CB686EF3-BC3B-4EDE-BCC8-48EF07458734}"/>
    <dgm:cxn modelId="{2311724D-AF5D-45A5-A832-60C6A0042DB9}" type="presOf" srcId="{1FFE048B-868E-4433-B886-C9FA89FFC0DC}" destId="{3B61E443-2BD1-4769-BEA4-EE1C1E90C4FB}" srcOrd="1" destOrd="0" presId="urn:microsoft.com/office/officeart/2005/8/layout/orgChart1"/>
    <dgm:cxn modelId="{A536773F-1427-4D6E-976F-7E633DAE9A3C}" srcId="{4CB7774D-ACAE-4407-85B1-A04C5856EAA7}" destId="{017FDAC5-2E5C-4267-B26F-C8BF3C51F54A}" srcOrd="0" destOrd="0" parTransId="{79EA6C29-56A7-4AAC-84B0-599DB41E8752}" sibTransId="{14B0BD9A-530A-4045-AF6A-04C45183EAD3}"/>
    <dgm:cxn modelId="{A6A5D795-AF22-4B98-A495-5676B16C48A0}" type="presOf" srcId="{449FAACB-8AD8-44C1-BD3E-404521F031DD}" destId="{A780E725-FB04-4C98-8674-107A36CE86C5}" srcOrd="0" destOrd="0" presId="urn:microsoft.com/office/officeart/2005/8/layout/orgChart1"/>
    <dgm:cxn modelId="{6E9FE560-1617-4DCB-AD6A-07A1C4AAF485}" srcId="{1FFE048B-868E-4433-B886-C9FA89FFC0DC}" destId="{AF47FE41-5828-4C7C-A6AE-64A416CCC2F8}" srcOrd="1" destOrd="0" parTransId="{17B6B2D0-7E3C-43B3-865F-8EE97354BA1A}" sibTransId="{886C76BD-56A0-4386-A580-4D2CD5FFB735}"/>
    <dgm:cxn modelId="{12D2CC89-726A-4B0F-B79A-D46B10579452}" type="presOf" srcId="{017FDAC5-2E5C-4267-B26F-C8BF3C51F54A}" destId="{CF4B3C83-05D7-4385-B71D-7C0633CF44A2}" srcOrd="1" destOrd="0" presId="urn:microsoft.com/office/officeart/2005/8/layout/orgChart1"/>
    <dgm:cxn modelId="{CC53514D-7F53-40ED-871F-8F4ADCC3F695}" type="presOf" srcId="{BADF6368-C9A2-4B4F-BD51-A22348BF2FF5}" destId="{1B7C6602-36C4-4CF5-923B-BBF40265C1CC}" srcOrd="0" destOrd="0" presId="urn:microsoft.com/office/officeart/2005/8/layout/orgChart1"/>
    <dgm:cxn modelId="{CEF387B1-2D94-4AB1-8A6C-DC69929074DB}" type="presOf" srcId="{DDC853E0-49BC-4905-AAB7-DC44415BE22F}" destId="{3BFC7581-D0ED-4A79-8825-9CEA52F751D0}" srcOrd="0" destOrd="0" presId="urn:microsoft.com/office/officeart/2005/8/layout/orgChart1"/>
    <dgm:cxn modelId="{929F8AD8-D2BA-4800-B174-4A44911A6594}" type="presOf" srcId="{7DFE66D6-E14C-49C7-ACB3-551DCFC8FA04}" destId="{A33D778B-59DF-4977-8E82-5C7990893923}" srcOrd="1" destOrd="0" presId="urn:microsoft.com/office/officeart/2005/8/layout/orgChart1"/>
    <dgm:cxn modelId="{681DEE04-83C4-4C80-B000-006A478541A9}" srcId="{4CB7774D-ACAE-4407-85B1-A04C5856EAA7}" destId="{887167D1-0A48-4472-B0BC-33D340D601AD}" srcOrd="6" destOrd="0" parTransId="{24127FD0-7B4F-49B3-9C1E-E3C9B43B21F1}" sibTransId="{D45A2B18-1A06-4E9D-9333-698D9A6F1A76}"/>
    <dgm:cxn modelId="{C76CEB6B-09EA-4F65-854D-315848153B0E}" srcId="{7DFE66D6-E14C-49C7-ACB3-551DCFC8FA04}" destId="{57FD3D86-6FCD-4616-86B8-CC27EF5B532A}" srcOrd="0" destOrd="0" parTransId="{C2083E85-EADE-415A-849F-BA85D79F5797}" sibTransId="{9880851A-A03D-4DE4-A6CF-904D4F143753}"/>
    <dgm:cxn modelId="{DC7CDA86-36FC-4B47-8179-FE8C22100D6D}" srcId="{FE0BB734-60A2-4994-9EDD-835D117FB4DD}" destId="{7DFE66D6-E14C-49C7-ACB3-551DCFC8FA04}" srcOrd="1" destOrd="0" parTransId="{2A337AA1-B8AB-419F-A044-1C6494D2EB9D}" sibTransId="{88BA1A26-1DFF-4FA6-8C6F-397EB6F32FF8}"/>
    <dgm:cxn modelId="{1BFEA04A-B3F8-4EFD-ADE7-BFDA283A32B1}" type="presOf" srcId="{4CB7774D-ACAE-4407-85B1-A04C5856EAA7}" destId="{A2DE6312-2DAC-4E2E-AA7F-5D98FC33D954}" srcOrd="0" destOrd="0" presId="urn:microsoft.com/office/officeart/2005/8/layout/orgChart1"/>
    <dgm:cxn modelId="{E3E3FEBA-F266-4BE2-8BB5-BD4B343AEE4D}" srcId="{FE0BB734-60A2-4994-9EDD-835D117FB4DD}" destId="{4CB7774D-ACAE-4407-85B1-A04C5856EAA7}" srcOrd="0" destOrd="0" parTransId="{E4BDF0AC-C25A-4211-B757-485983970D5E}" sibTransId="{64B940DE-A98F-413B-BE82-B3F8AB0B0DCC}"/>
    <dgm:cxn modelId="{CC63E18B-5A48-4314-857F-8DC66DB2B3F2}" type="presOf" srcId="{887167D1-0A48-4472-B0BC-33D340D601AD}" destId="{1983F691-A2CA-4A5D-AFBE-7E8632618A13}" srcOrd="1" destOrd="0" presId="urn:microsoft.com/office/officeart/2005/8/layout/orgChart1"/>
    <dgm:cxn modelId="{3F04C66E-CF09-4D03-BDBD-B76C5826C085}" srcId="{FE0BB734-60A2-4994-9EDD-835D117FB4DD}" destId="{1FFE048B-868E-4433-B886-C9FA89FFC0DC}" srcOrd="2" destOrd="0" parTransId="{388C726F-4F37-4CA6-ABD6-7DE478360A71}" sibTransId="{E35EC7EF-B103-4796-B560-7417B7044470}"/>
    <dgm:cxn modelId="{D4B20909-39D5-4C18-88BA-887002E1AA35}" srcId="{4CB7774D-ACAE-4407-85B1-A04C5856EAA7}" destId="{6E2D64F5-25A9-446A-95C8-0A13B3A01AB4}" srcOrd="4" destOrd="0" parTransId="{05A96DBF-6D28-4F7A-A280-F61E228F2892}" sibTransId="{24CFB076-E424-4B63-B955-752DDAA2C491}"/>
    <dgm:cxn modelId="{8C2A62EC-39FC-4410-9919-727DCE077638}" type="presOf" srcId="{D86ABC1E-15F0-49C7-97C5-A6E71008C0D3}" destId="{EA23C9B9-7858-4146-BF78-646D9AD1C8CA}" srcOrd="1" destOrd="0" presId="urn:microsoft.com/office/officeart/2005/8/layout/orgChart1"/>
    <dgm:cxn modelId="{23607314-22EC-47A0-A3D0-81632B2BCC02}" type="presOf" srcId="{A55D4639-4932-431A-A949-8B873B116928}" destId="{3A073ED1-CDD7-45A6-B86E-398A96E12816}" srcOrd="0" destOrd="0" presId="urn:microsoft.com/office/officeart/2005/8/layout/orgChart1"/>
    <dgm:cxn modelId="{3696D912-E19A-4EBB-95E0-676A3FDE9505}" type="presOf" srcId="{1CBB769A-1834-4BBD-9056-6841C32F9C32}" destId="{0E4D552E-3F1C-4D74-AF64-A08BDB5EFA5B}" srcOrd="1" destOrd="0" presId="urn:microsoft.com/office/officeart/2005/8/layout/orgChart1"/>
    <dgm:cxn modelId="{4DA0E242-D985-471D-97A1-7B03E2371681}" type="presOf" srcId="{DDC853E0-49BC-4905-AAB7-DC44415BE22F}" destId="{D2E62CDC-D875-46FB-AD5B-8D9C8E7C5A05}" srcOrd="1" destOrd="0" presId="urn:microsoft.com/office/officeart/2005/8/layout/orgChart1"/>
    <dgm:cxn modelId="{D58F8CFD-70AF-46EA-B60C-E042F5C5DB53}" type="presOf" srcId="{6E2D64F5-25A9-446A-95C8-0A13B3A01AB4}" destId="{D5B9E64C-DA8E-40AE-AA34-DFBCEDFFA129}" srcOrd="0" destOrd="0" presId="urn:microsoft.com/office/officeart/2005/8/layout/orgChart1"/>
    <dgm:cxn modelId="{DFC15EC9-92ED-4537-80B4-D70E35793D69}" type="presOf" srcId="{ACCF9690-BF80-4CF9-93C5-7F3F09600EB0}" destId="{F4C50241-89BB-468F-BEA5-D28104DA71B3}" srcOrd="1" destOrd="0" presId="urn:microsoft.com/office/officeart/2005/8/layout/orgChart1"/>
    <dgm:cxn modelId="{A176099F-D214-4BB5-B635-5386C7027EE5}" srcId="{4CB7774D-ACAE-4407-85B1-A04C5856EAA7}" destId="{07DD4598-DF06-4719-8319-84FA0AB51DAD}" srcOrd="3" destOrd="0" parTransId="{F15FFBC1-F38F-46AE-A991-53099771CC46}" sibTransId="{7E745B84-0290-433D-AC7F-0353CE5E71E1}"/>
    <dgm:cxn modelId="{70EFA301-227C-40EC-AB07-996B0F1E4B0E}" type="presOf" srcId="{57FD3D86-6FCD-4616-86B8-CC27EF5B532A}" destId="{AB59253F-2FAD-41E4-8AF3-3D7258EA4529}" srcOrd="1" destOrd="0" presId="urn:microsoft.com/office/officeart/2005/8/layout/orgChart1"/>
    <dgm:cxn modelId="{4F6E2FAE-1762-43CA-A5EE-4AE162A406B7}" type="presOf" srcId="{887167D1-0A48-4472-B0BC-33D340D601AD}" destId="{999DB62E-3CDC-43DB-87B6-21F1014E2888}" srcOrd="0" destOrd="0" presId="urn:microsoft.com/office/officeart/2005/8/layout/orgChart1"/>
    <dgm:cxn modelId="{73EEFE8F-59C1-44E8-AB8A-0DAD8F09B719}" type="presOf" srcId="{C2083E85-EADE-415A-849F-BA85D79F5797}" destId="{CC347602-F71F-406A-BB89-73CD577746AB}" srcOrd="0" destOrd="0" presId="urn:microsoft.com/office/officeart/2005/8/layout/orgChart1"/>
    <dgm:cxn modelId="{5ED02A1C-863A-4A9B-8D42-193F240A86B3}" type="presOf" srcId="{E4BDF0AC-C25A-4211-B757-485983970D5E}" destId="{C84531DC-D68F-4B27-95A7-87D73835AA79}" srcOrd="0" destOrd="0" presId="urn:microsoft.com/office/officeart/2005/8/layout/orgChart1"/>
    <dgm:cxn modelId="{21754042-46DC-41C4-8E3C-04068A0EA8C4}" type="presOf" srcId="{24127FD0-7B4F-49B3-9C1E-E3C9B43B21F1}" destId="{F24E997F-71E4-4EA7-B323-53C38E330A59}" srcOrd="0" destOrd="0" presId="urn:microsoft.com/office/officeart/2005/8/layout/orgChart1"/>
    <dgm:cxn modelId="{17A55101-008F-4F4C-9956-1473E50652A4}" srcId="{DDC853E0-49BC-4905-AAB7-DC44415BE22F}" destId="{D86ABC1E-15F0-49C7-97C5-A6E71008C0D3}" srcOrd="0" destOrd="0" parTransId="{40501C84-D1F1-4998-AD19-377A4C915C7C}" sibTransId="{C581678A-FE26-4F61-AC3F-468BD216908F}"/>
    <dgm:cxn modelId="{441327CF-4329-45E6-8375-E2AD526EE066}" srcId="{4CB7774D-ACAE-4407-85B1-A04C5856EAA7}" destId="{ACCF9690-BF80-4CF9-93C5-7F3F09600EB0}" srcOrd="5" destOrd="0" parTransId="{CF9C4239-170A-418B-BECF-4B3A23002970}" sibTransId="{6BC42506-9DDE-4158-B53D-B86ABAE9F6C6}"/>
    <dgm:cxn modelId="{2CB93A12-0BA1-4CF1-80A0-8917BA7D187A}" type="presOf" srcId="{2A337AA1-B8AB-419F-A044-1C6494D2EB9D}" destId="{67647301-4A8A-4960-BCE7-BF044836B306}" srcOrd="0" destOrd="0" presId="urn:microsoft.com/office/officeart/2005/8/layout/orgChart1"/>
    <dgm:cxn modelId="{EE4782BD-12E4-4924-A667-0D2CFAE0B1CF}" type="presOf" srcId="{1A1ECC50-CE7C-46DC-89D0-636C917CEA3E}" destId="{E31E4493-E142-454E-8914-11FD9345D0E2}" srcOrd="0" destOrd="0" presId="urn:microsoft.com/office/officeart/2005/8/layout/orgChart1"/>
    <dgm:cxn modelId="{E8B13C51-AD2A-4FB0-812E-62AB34472E60}" type="presOf" srcId="{07DD4598-DF06-4719-8319-84FA0AB51DAD}" destId="{460E0A90-0521-47E6-89E5-C70A21A71710}" srcOrd="0" destOrd="0" presId="urn:microsoft.com/office/officeart/2005/8/layout/orgChart1"/>
    <dgm:cxn modelId="{F9E4F33A-DE29-4AAF-A5E9-D0C44355B29C}" type="presOf" srcId="{57FD3D86-6FCD-4616-86B8-CC27EF5B532A}" destId="{BFF9B4BA-F104-4C10-A67F-392C88E9766D}" srcOrd="0" destOrd="0" presId="urn:microsoft.com/office/officeart/2005/8/layout/orgChart1"/>
    <dgm:cxn modelId="{66F911E5-C7C6-49B1-823E-13BBC268C3C9}" type="presOf" srcId="{05A96DBF-6D28-4F7A-A280-F61E228F2892}" destId="{071C890C-31B7-4BA4-9988-7CE4F6FD93C2}" srcOrd="0" destOrd="0" presId="urn:microsoft.com/office/officeart/2005/8/layout/orgChart1"/>
    <dgm:cxn modelId="{2485A4B3-6211-499E-9EE5-786692584B0B}" type="presOf" srcId="{017FDAC5-2E5C-4267-B26F-C8BF3C51F54A}" destId="{7470010B-5E4A-4727-AF4B-3272C499A4E4}" srcOrd="0" destOrd="0" presId="urn:microsoft.com/office/officeart/2005/8/layout/orgChart1"/>
    <dgm:cxn modelId="{D0C0E916-F173-4E8E-B850-AB5FDB9C529A}" type="presOf" srcId="{1CBB769A-1834-4BBD-9056-6841C32F9C32}" destId="{8CD4369D-16C0-443C-A673-345A68B0CDBB}" srcOrd="0" destOrd="0" presId="urn:microsoft.com/office/officeart/2005/8/layout/orgChart1"/>
    <dgm:cxn modelId="{35FCC4E8-AC6E-427A-A902-2A46E9B82400}" type="presOf" srcId="{AF47FE41-5828-4C7C-A6AE-64A416CCC2F8}" destId="{B6DE9EC5-6612-404C-87BC-A12434FEADEA}" srcOrd="0" destOrd="0" presId="urn:microsoft.com/office/officeart/2005/8/layout/orgChart1"/>
    <dgm:cxn modelId="{6B7FF052-4EF7-4BD3-BD09-828A51308D29}" srcId="{FE0BB734-60A2-4994-9EDD-835D117FB4DD}" destId="{DDC853E0-49BC-4905-AAB7-DC44415BE22F}" srcOrd="3" destOrd="0" parTransId="{A55D4639-4932-431A-A949-8B873B116928}" sibTransId="{BFEB3BA7-9DBE-40CB-B45C-1E27E4ED6B78}"/>
    <dgm:cxn modelId="{2A1AC4DA-D306-42CF-B326-AA733E22E144}" type="presOf" srcId="{17F81AC7-F98C-4C79-AEDE-DA6C13BC9660}" destId="{AC08C39E-9784-46C6-BC40-A57124CB8419}" srcOrd="0" destOrd="0" presId="urn:microsoft.com/office/officeart/2005/8/layout/orgChart1"/>
    <dgm:cxn modelId="{F48B6A7E-11DB-4055-9C1F-5F89B59EECF2}" type="presOf" srcId="{DE3B26A5-1691-41AB-9D3F-E57205407A48}" destId="{3BE30DF5-5F70-4265-8D49-777130B62C17}" srcOrd="0" destOrd="0" presId="urn:microsoft.com/office/officeart/2005/8/layout/orgChart1"/>
    <dgm:cxn modelId="{474AC0F6-DE38-46E2-AF58-313E10A8ABFE}" type="presOf" srcId="{FE0BB734-60A2-4994-9EDD-835D117FB4DD}" destId="{9FDD2C79-7F67-4EC0-84C7-1B2C3C9A327F}" srcOrd="1" destOrd="0" presId="urn:microsoft.com/office/officeart/2005/8/layout/orgChart1"/>
    <dgm:cxn modelId="{DBC516A1-CB35-4827-B599-D8A0B9D11734}" type="presOf" srcId="{07DD4598-DF06-4719-8319-84FA0AB51DAD}" destId="{93851EAA-056E-4B02-92C3-E8787BC23A73}" srcOrd="1" destOrd="0" presId="urn:microsoft.com/office/officeart/2005/8/layout/orgChart1"/>
    <dgm:cxn modelId="{3F1FFF2B-92B0-4191-BFBC-F2D7BF261DAA}" type="presOf" srcId="{1FFE048B-868E-4433-B886-C9FA89FFC0DC}" destId="{F2998657-FCE0-4464-8F1B-B42FACE656FF}" srcOrd="0" destOrd="0" presId="urn:microsoft.com/office/officeart/2005/8/layout/orgChart1"/>
    <dgm:cxn modelId="{1C0B6635-7307-4222-89A7-C6F610E9FEF8}" type="presOf" srcId="{FE0BB734-60A2-4994-9EDD-835D117FB4DD}" destId="{0019B321-6151-4B30-B74E-DCAF498B6A27}" srcOrd="0" destOrd="0" presId="urn:microsoft.com/office/officeart/2005/8/layout/orgChart1"/>
    <dgm:cxn modelId="{87146CE9-478A-4B24-B139-A3FD5F08836D}" type="presOf" srcId="{CF9C4239-170A-418B-BECF-4B3A23002970}" destId="{4E4969E8-8ADD-4CAC-89FF-D71CFE957B26}" srcOrd="0" destOrd="0" presId="urn:microsoft.com/office/officeart/2005/8/layout/orgChart1"/>
    <dgm:cxn modelId="{7F9C25F3-F542-422E-AA5D-F34DD0106F69}" type="presOf" srcId="{449FAACB-8AD8-44C1-BD3E-404521F031DD}" destId="{F6FA31F2-C2CC-4E9C-B9F1-EF088B6A47BA}" srcOrd="1" destOrd="0" presId="urn:microsoft.com/office/officeart/2005/8/layout/orgChart1"/>
    <dgm:cxn modelId="{AD478D8C-516A-410F-AD67-2B309BABF366}" type="presOf" srcId="{7DFE66D6-E14C-49C7-ACB3-551DCFC8FA04}" destId="{2872A469-555A-4465-A4BE-DB8E05B77CB3}" srcOrd="0" destOrd="0" presId="urn:microsoft.com/office/officeart/2005/8/layout/orgChart1"/>
    <dgm:cxn modelId="{3D3B7459-C3D4-4E8E-9574-ACD07ED7A179}" type="presOf" srcId="{17B6B2D0-7E3C-43B3-865F-8EE97354BA1A}" destId="{71D6434C-D916-4962-AF05-9DBE7ABE9306}" srcOrd="0" destOrd="0" presId="urn:microsoft.com/office/officeart/2005/8/layout/orgChart1"/>
    <dgm:cxn modelId="{48F70748-B7A9-4002-819F-9B287C0A30C9}" srcId="{1A1ECC50-CE7C-46DC-89D0-636C917CEA3E}" destId="{FE0BB734-60A2-4994-9EDD-835D117FB4DD}" srcOrd="0" destOrd="0" parTransId="{6EC25B38-3939-4E05-96DB-85AA34756077}" sibTransId="{7E3D0E72-A31C-4C66-BFD7-1FE04C3AB13E}"/>
    <dgm:cxn modelId="{F457A1B7-00E5-460B-BC9A-0C8C47E08695}" type="presParOf" srcId="{E31E4493-E142-454E-8914-11FD9345D0E2}" destId="{01F2942D-5499-421A-8446-424FC398EDDF}" srcOrd="0" destOrd="0" presId="urn:microsoft.com/office/officeart/2005/8/layout/orgChart1"/>
    <dgm:cxn modelId="{13617CD6-F44B-4A21-B23C-C283DF82168E}" type="presParOf" srcId="{01F2942D-5499-421A-8446-424FC398EDDF}" destId="{94BE5258-20AC-46F6-ACA6-FA8B2ACF2D39}" srcOrd="0" destOrd="0" presId="urn:microsoft.com/office/officeart/2005/8/layout/orgChart1"/>
    <dgm:cxn modelId="{1CB063D4-17E0-4BE9-A026-9A626654D3A0}" type="presParOf" srcId="{94BE5258-20AC-46F6-ACA6-FA8B2ACF2D39}" destId="{0019B321-6151-4B30-B74E-DCAF498B6A27}" srcOrd="0" destOrd="0" presId="urn:microsoft.com/office/officeart/2005/8/layout/orgChart1"/>
    <dgm:cxn modelId="{F7FB7E83-9495-4D59-9675-0BB37A2D4CCB}" type="presParOf" srcId="{94BE5258-20AC-46F6-ACA6-FA8B2ACF2D39}" destId="{9FDD2C79-7F67-4EC0-84C7-1B2C3C9A327F}" srcOrd="1" destOrd="0" presId="urn:microsoft.com/office/officeart/2005/8/layout/orgChart1"/>
    <dgm:cxn modelId="{9AECD0A4-5A6F-45AC-B38C-8CF3820DE30A}" type="presParOf" srcId="{01F2942D-5499-421A-8446-424FC398EDDF}" destId="{52CF0F0B-67CC-4F6B-BFF0-22107935D4F0}" srcOrd="1" destOrd="0" presId="urn:microsoft.com/office/officeart/2005/8/layout/orgChart1"/>
    <dgm:cxn modelId="{338A40AD-AEA7-4493-9CD6-2B7612ECCF45}" type="presParOf" srcId="{52CF0F0B-67CC-4F6B-BFF0-22107935D4F0}" destId="{C84531DC-D68F-4B27-95A7-87D73835AA79}" srcOrd="0" destOrd="0" presId="urn:microsoft.com/office/officeart/2005/8/layout/orgChart1"/>
    <dgm:cxn modelId="{051D8D42-ACBF-4166-9E45-70EC5C8A4EFC}" type="presParOf" srcId="{52CF0F0B-67CC-4F6B-BFF0-22107935D4F0}" destId="{2125DE4E-3DD9-4D75-BBBD-ADBFE48D778C}" srcOrd="1" destOrd="0" presId="urn:microsoft.com/office/officeart/2005/8/layout/orgChart1"/>
    <dgm:cxn modelId="{247DE3CD-5581-435A-92BB-455DC2F8CFA8}" type="presParOf" srcId="{2125DE4E-3DD9-4D75-BBBD-ADBFE48D778C}" destId="{0BDBA21B-FDDB-40A0-9064-E97A22ED9BBF}" srcOrd="0" destOrd="0" presId="urn:microsoft.com/office/officeart/2005/8/layout/orgChart1"/>
    <dgm:cxn modelId="{AEA683B8-BCB1-446B-BE23-01936B2595F9}" type="presParOf" srcId="{0BDBA21B-FDDB-40A0-9064-E97A22ED9BBF}" destId="{A2DE6312-2DAC-4E2E-AA7F-5D98FC33D954}" srcOrd="0" destOrd="0" presId="urn:microsoft.com/office/officeart/2005/8/layout/orgChart1"/>
    <dgm:cxn modelId="{B3632380-6D33-473B-8414-77570C0BCD3A}" type="presParOf" srcId="{0BDBA21B-FDDB-40A0-9064-E97A22ED9BBF}" destId="{C108067C-007A-4A28-95CF-5EF5BEA3611D}" srcOrd="1" destOrd="0" presId="urn:microsoft.com/office/officeart/2005/8/layout/orgChart1"/>
    <dgm:cxn modelId="{3C8EBC6C-C504-42A2-8A67-60C0695FCAA9}" type="presParOf" srcId="{2125DE4E-3DD9-4D75-BBBD-ADBFE48D778C}" destId="{CAFBFCFD-5A32-4D9E-96F8-DE0F6A66174B}" srcOrd="1" destOrd="0" presId="urn:microsoft.com/office/officeart/2005/8/layout/orgChart1"/>
    <dgm:cxn modelId="{DB958474-9245-4AEC-8E49-D1BC49ABD9B3}" type="presParOf" srcId="{CAFBFCFD-5A32-4D9E-96F8-DE0F6A66174B}" destId="{AB909C0D-0788-41CA-BC2A-04CE6A35B5D8}" srcOrd="0" destOrd="0" presId="urn:microsoft.com/office/officeart/2005/8/layout/orgChart1"/>
    <dgm:cxn modelId="{089F8728-B4AD-4319-BB8D-5AC2ABB2B974}" type="presParOf" srcId="{CAFBFCFD-5A32-4D9E-96F8-DE0F6A66174B}" destId="{F8BF5B03-34D7-4609-9988-7CC11A796CC0}" srcOrd="1" destOrd="0" presId="urn:microsoft.com/office/officeart/2005/8/layout/orgChart1"/>
    <dgm:cxn modelId="{A7EED7E7-604B-4B38-9FCA-D8BF374F79AF}" type="presParOf" srcId="{F8BF5B03-34D7-4609-9988-7CC11A796CC0}" destId="{D06E9C8A-3F52-4BC6-B02E-F811A4CCFC4C}" srcOrd="0" destOrd="0" presId="urn:microsoft.com/office/officeart/2005/8/layout/orgChart1"/>
    <dgm:cxn modelId="{91E7B8FC-9138-478F-B602-DF6BDBBDC08D}" type="presParOf" srcId="{D06E9C8A-3F52-4BC6-B02E-F811A4CCFC4C}" destId="{7470010B-5E4A-4727-AF4B-3272C499A4E4}" srcOrd="0" destOrd="0" presId="urn:microsoft.com/office/officeart/2005/8/layout/orgChart1"/>
    <dgm:cxn modelId="{195911ED-8E62-4F2A-953C-892742B1A17C}" type="presParOf" srcId="{D06E9C8A-3F52-4BC6-B02E-F811A4CCFC4C}" destId="{CF4B3C83-05D7-4385-B71D-7C0633CF44A2}" srcOrd="1" destOrd="0" presId="urn:microsoft.com/office/officeart/2005/8/layout/orgChart1"/>
    <dgm:cxn modelId="{92919BEB-650E-4A7D-B700-C2318274132E}" type="presParOf" srcId="{F8BF5B03-34D7-4609-9988-7CC11A796CC0}" destId="{0B27BFFE-DE7F-4541-81E4-1C90C54F05C0}" srcOrd="1" destOrd="0" presId="urn:microsoft.com/office/officeart/2005/8/layout/orgChart1"/>
    <dgm:cxn modelId="{01C78242-CA5A-490B-A5A4-E735A1B39FE9}" type="presParOf" srcId="{F8BF5B03-34D7-4609-9988-7CC11A796CC0}" destId="{0CC438EC-1BB3-45CF-8230-B9F2C747CCC7}" srcOrd="2" destOrd="0" presId="urn:microsoft.com/office/officeart/2005/8/layout/orgChart1"/>
    <dgm:cxn modelId="{A2623902-88FA-46BD-971B-4E242894BB42}" type="presParOf" srcId="{CAFBFCFD-5A32-4D9E-96F8-DE0F6A66174B}" destId="{F5CF5D2E-FCE6-475B-B7EB-C414DEFE762C}" srcOrd="2" destOrd="0" presId="urn:microsoft.com/office/officeart/2005/8/layout/orgChart1"/>
    <dgm:cxn modelId="{EEAE724B-8F66-43B1-9531-154ADCC64A43}" type="presParOf" srcId="{CAFBFCFD-5A32-4D9E-96F8-DE0F6A66174B}" destId="{9EB9926C-5AFE-41A2-8994-F5980F592DE0}" srcOrd="3" destOrd="0" presId="urn:microsoft.com/office/officeart/2005/8/layout/orgChart1"/>
    <dgm:cxn modelId="{3D114CF4-584A-47BB-87BF-236BCECAF83F}" type="presParOf" srcId="{9EB9926C-5AFE-41A2-8994-F5980F592DE0}" destId="{A9CF5462-E192-47F2-BD13-0968DA94F010}" srcOrd="0" destOrd="0" presId="urn:microsoft.com/office/officeart/2005/8/layout/orgChart1"/>
    <dgm:cxn modelId="{57CE5A1D-4485-495E-A35C-C58001B5E6AB}" type="presParOf" srcId="{A9CF5462-E192-47F2-BD13-0968DA94F010}" destId="{1B7C6602-36C4-4CF5-923B-BBF40265C1CC}" srcOrd="0" destOrd="0" presId="urn:microsoft.com/office/officeart/2005/8/layout/orgChart1"/>
    <dgm:cxn modelId="{ED3E8E99-A8AE-4E45-9534-93ACBC403209}" type="presParOf" srcId="{A9CF5462-E192-47F2-BD13-0968DA94F010}" destId="{5E5E47FC-DD59-40B6-A3A5-CA6F30C758F1}" srcOrd="1" destOrd="0" presId="urn:microsoft.com/office/officeart/2005/8/layout/orgChart1"/>
    <dgm:cxn modelId="{5B5BCA39-6989-41F1-BD0E-376538E4E55D}" type="presParOf" srcId="{9EB9926C-5AFE-41A2-8994-F5980F592DE0}" destId="{B88967BC-2A2C-495D-AB3E-77E31617144F}" srcOrd="1" destOrd="0" presId="urn:microsoft.com/office/officeart/2005/8/layout/orgChart1"/>
    <dgm:cxn modelId="{E83595B9-80B5-445A-9694-2A39CC49A5E6}" type="presParOf" srcId="{9EB9926C-5AFE-41A2-8994-F5980F592DE0}" destId="{4DE9FD6C-B1FE-450B-9009-AB14EF0CB034}" srcOrd="2" destOrd="0" presId="urn:microsoft.com/office/officeart/2005/8/layout/orgChart1"/>
    <dgm:cxn modelId="{0E4773A3-EC06-46B8-B971-14C086B7C3AD}" type="presParOf" srcId="{CAFBFCFD-5A32-4D9E-96F8-DE0F6A66174B}" destId="{AC08C39E-9784-46C6-BC40-A57124CB8419}" srcOrd="4" destOrd="0" presId="urn:microsoft.com/office/officeart/2005/8/layout/orgChart1"/>
    <dgm:cxn modelId="{7DE1E861-D67A-4F9C-BDA3-62F2C10D19DE}" type="presParOf" srcId="{CAFBFCFD-5A32-4D9E-96F8-DE0F6A66174B}" destId="{F947884D-61C9-4F17-8313-E8ABC5722A47}" srcOrd="5" destOrd="0" presId="urn:microsoft.com/office/officeart/2005/8/layout/orgChart1"/>
    <dgm:cxn modelId="{F97F5F43-5A46-4080-BC7E-051BDA94DBFB}" type="presParOf" srcId="{F947884D-61C9-4F17-8313-E8ABC5722A47}" destId="{AD77F8A3-0E53-4C63-86A9-623D8B473F16}" srcOrd="0" destOrd="0" presId="urn:microsoft.com/office/officeart/2005/8/layout/orgChart1"/>
    <dgm:cxn modelId="{6CF776FF-7506-4707-8AA4-5D94E02CC8B5}" type="presParOf" srcId="{AD77F8A3-0E53-4C63-86A9-623D8B473F16}" destId="{A780E725-FB04-4C98-8674-107A36CE86C5}" srcOrd="0" destOrd="0" presId="urn:microsoft.com/office/officeart/2005/8/layout/orgChart1"/>
    <dgm:cxn modelId="{528C8444-6F17-46F6-A69F-697895435668}" type="presParOf" srcId="{AD77F8A3-0E53-4C63-86A9-623D8B473F16}" destId="{F6FA31F2-C2CC-4E9C-B9F1-EF088B6A47BA}" srcOrd="1" destOrd="0" presId="urn:microsoft.com/office/officeart/2005/8/layout/orgChart1"/>
    <dgm:cxn modelId="{D1A8C004-93DB-435F-96AA-F261124C617F}" type="presParOf" srcId="{F947884D-61C9-4F17-8313-E8ABC5722A47}" destId="{F2C4E4AC-4BB0-4332-A22A-176F2F95107A}" srcOrd="1" destOrd="0" presId="urn:microsoft.com/office/officeart/2005/8/layout/orgChart1"/>
    <dgm:cxn modelId="{B984EFCC-60CB-444D-AF8C-9F8F86DE886E}" type="presParOf" srcId="{F947884D-61C9-4F17-8313-E8ABC5722A47}" destId="{60E84B57-F40B-4F59-A2B0-FAF15077CED3}" srcOrd="2" destOrd="0" presId="urn:microsoft.com/office/officeart/2005/8/layout/orgChart1"/>
    <dgm:cxn modelId="{DA4C523E-2ECB-4A07-A1F8-9093FD7628F3}" type="presParOf" srcId="{CAFBFCFD-5A32-4D9E-96F8-DE0F6A66174B}" destId="{56F317A3-CECA-473A-8567-41B1ABA4E68D}" srcOrd="6" destOrd="0" presId="urn:microsoft.com/office/officeart/2005/8/layout/orgChart1"/>
    <dgm:cxn modelId="{805A971D-7179-4D62-B3DE-073F1469D74A}" type="presParOf" srcId="{CAFBFCFD-5A32-4D9E-96F8-DE0F6A66174B}" destId="{C4C000D3-8DF8-4C63-B00E-746AD8756E38}" srcOrd="7" destOrd="0" presId="urn:microsoft.com/office/officeart/2005/8/layout/orgChart1"/>
    <dgm:cxn modelId="{C67C5992-33FF-43C6-8983-D52F80BE3213}" type="presParOf" srcId="{C4C000D3-8DF8-4C63-B00E-746AD8756E38}" destId="{E5171533-13E0-4B73-B429-9AC20CC232E1}" srcOrd="0" destOrd="0" presId="urn:microsoft.com/office/officeart/2005/8/layout/orgChart1"/>
    <dgm:cxn modelId="{76E87197-40A9-4557-81F5-B66450D4CAC1}" type="presParOf" srcId="{E5171533-13E0-4B73-B429-9AC20CC232E1}" destId="{460E0A90-0521-47E6-89E5-C70A21A71710}" srcOrd="0" destOrd="0" presId="urn:microsoft.com/office/officeart/2005/8/layout/orgChart1"/>
    <dgm:cxn modelId="{B415AF80-EF15-4205-A4F1-558308931A41}" type="presParOf" srcId="{E5171533-13E0-4B73-B429-9AC20CC232E1}" destId="{93851EAA-056E-4B02-92C3-E8787BC23A73}" srcOrd="1" destOrd="0" presId="urn:microsoft.com/office/officeart/2005/8/layout/orgChart1"/>
    <dgm:cxn modelId="{1E04FC40-2044-43B4-AFA1-FAF5C6E8A977}" type="presParOf" srcId="{C4C000D3-8DF8-4C63-B00E-746AD8756E38}" destId="{8305A172-406F-4247-AD9C-9CFBBB60807D}" srcOrd="1" destOrd="0" presId="urn:microsoft.com/office/officeart/2005/8/layout/orgChart1"/>
    <dgm:cxn modelId="{0F6A4522-E683-4E66-A3B7-1A34B7D990A9}" type="presParOf" srcId="{C4C000D3-8DF8-4C63-B00E-746AD8756E38}" destId="{B10BF75F-2640-4A37-A1BF-809CBF267D83}" srcOrd="2" destOrd="0" presId="urn:microsoft.com/office/officeart/2005/8/layout/orgChart1"/>
    <dgm:cxn modelId="{1A03E0D7-068A-4A39-93C4-43F70ADC4C5E}" type="presParOf" srcId="{CAFBFCFD-5A32-4D9E-96F8-DE0F6A66174B}" destId="{071C890C-31B7-4BA4-9988-7CE4F6FD93C2}" srcOrd="8" destOrd="0" presId="urn:microsoft.com/office/officeart/2005/8/layout/orgChart1"/>
    <dgm:cxn modelId="{862709E5-34D0-4890-B749-4B1A9D37063D}" type="presParOf" srcId="{CAFBFCFD-5A32-4D9E-96F8-DE0F6A66174B}" destId="{6C16B5EB-4625-4703-BCD8-28CA50787CB0}" srcOrd="9" destOrd="0" presId="urn:microsoft.com/office/officeart/2005/8/layout/orgChart1"/>
    <dgm:cxn modelId="{565E62B2-A280-4E5F-9992-088EF7D10022}" type="presParOf" srcId="{6C16B5EB-4625-4703-BCD8-28CA50787CB0}" destId="{16EBB844-716B-44B8-A72F-545461E9D0B9}" srcOrd="0" destOrd="0" presId="urn:microsoft.com/office/officeart/2005/8/layout/orgChart1"/>
    <dgm:cxn modelId="{A865D4E3-599F-4B5B-B741-D9DD0195FBBA}" type="presParOf" srcId="{16EBB844-716B-44B8-A72F-545461E9D0B9}" destId="{D5B9E64C-DA8E-40AE-AA34-DFBCEDFFA129}" srcOrd="0" destOrd="0" presId="urn:microsoft.com/office/officeart/2005/8/layout/orgChart1"/>
    <dgm:cxn modelId="{D34E8A1F-FE6E-4F69-862A-04CA147EA45C}" type="presParOf" srcId="{16EBB844-716B-44B8-A72F-545461E9D0B9}" destId="{0B296E06-0015-46BC-A584-CD29D8435C60}" srcOrd="1" destOrd="0" presId="urn:microsoft.com/office/officeart/2005/8/layout/orgChart1"/>
    <dgm:cxn modelId="{3BD295AE-EB2A-45F2-87C8-2A9062E2518D}" type="presParOf" srcId="{6C16B5EB-4625-4703-BCD8-28CA50787CB0}" destId="{CD8E549E-7422-4393-9D6B-11F2BF7CECC9}" srcOrd="1" destOrd="0" presId="urn:microsoft.com/office/officeart/2005/8/layout/orgChart1"/>
    <dgm:cxn modelId="{1477BF56-37C1-47AB-952D-6D6B17A558BE}" type="presParOf" srcId="{6C16B5EB-4625-4703-BCD8-28CA50787CB0}" destId="{CF42DDDF-E03E-439A-962C-2FCBA7DE61B5}" srcOrd="2" destOrd="0" presId="urn:microsoft.com/office/officeart/2005/8/layout/orgChart1"/>
    <dgm:cxn modelId="{DF5AE105-6B0E-45BF-9658-1C18DB67BE24}" type="presParOf" srcId="{CAFBFCFD-5A32-4D9E-96F8-DE0F6A66174B}" destId="{4E4969E8-8ADD-4CAC-89FF-D71CFE957B26}" srcOrd="10" destOrd="0" presId="urn:microsoft.com/office/officeart/2005/8/layout/orgChart1"/>
    <dgm:cxn modelId="{6A00FD92-EC11-419D-B4AE-76CE6120E0E8}" type="presParOf" srcId="{CAFBFCFD-5A32-4D9E-96F8-DE0F6A66174B}" destId="{234CE14D-EEE3-4481-9539-4B6EEC422AE1}" srcOrd="11" destOrd="0" presId="urn:microsoft.com/office/officeart/2005/8/layout/orgChart1"/>
    <dgm:cxn modelId="{F103110D-57D5-4C15-A6C0-B9B600ABC98E}" type="presParOf" srcId="{234CE14D-EEE3-4481-9539-4B6EEC422AE1}" destId="{16A6E8EE-531C-4407-9E31-2D0A5BA44414}" srcOrd="0" destOrd="0" presId="urn:microsoft.com/office/officeart/2005/8/layout/orgChart1"/>
    <dgm:cxn modelId="{67E6C9EE-8C33-4332-B6F4-7DD3D0E423B0}" type="presParOf" srcId="{16A6E8EE-531C-4407-9E31-2D0A5BA44414}" destId="{0B1C0C4E-CC73-4891-93E4-52C321ED2403}" srcOrd="0" destOrd="0" presId="urn:microsoft.com/office/officeart/2005/8/layout/orgChart1"/>
    <dgm:cxn modelId="{12BE6C90-B6D2-423C-B74A-7C498BA9FEF1}" type="presParOf" srcId="{16A6E8EE-531C-4407-9E31-2D0A5BA44414}" destId="{F4C50241-89BB-468F-BEA5-D28104DA71B3}" srcOrd="1" destOrd="0" presId="urn:microsoft.com/office/officeart/2005/8/layout/orgChart1"/>
    <dgm:cxn modelId="{8BF63B0D-E1A1-4265-9A70-85EA5976DD43}" type="presParOf" srcId="{234CE14D-EEE3-4481-9539-4B6EEC422AE1}" destId="{78284204-B078-4620-BA26-545F92BB943E}" srcOrd="1" destOrd="0" presId="urn:microsoft.com/office/officeart/2005/8/layout/orgChart1"/>
    <dgm:cxn modelId="{282BD0CE-16FD-4319-982B-92E351B4FA9C}" type="presParOf" srcId="{234CE14D-EEE3-4481-9539-4B6EEC422AE1}" destId="{267234E5-6584-417A-9D0A-FE531E489862}" srcOrd="2" destOrd="0" presId="urn:microsoft.com/office/officeart/2005/8/layout/orgChart1"/>
    <dgm:cxn modelId="{080B1FC7-D790-44B8-9112-8AD95A8767A0}" type="presParOf" srcId="{CAFBFCFD-5A32-4D9E-96F8-DE0F6A66174B}" destId="{F24E997F-71E4-4EA7-B323-53C38E330A59}" srcOrd="12" destOrd="0" presId="urn:microsoft.com/office/officeart/2005/8/layout/orgChart1"/>
    <dgm:cxn modelId="{C067A268-2412-4212-BE76-C467D470CD3F}" type="presParOf" srcId="{CAFBFCFD-5A32-4D9E-96F8-DE0F6A66174B}" destId="{0AB53511-2B01-4162-BB0D-82510CE927E1}" srcOrd="13" destOrd="0" presId="urn:microsoft.com/office/officeart/2005/8/layout/orgChart1"/>
    <dgm:cxn modelId="{2F7E0E04-7D83-4C0A-8989-A235B5788632}" type="presParOf" srcId="{0AB53511-2B01-4162-BB0D-82510CE927E1}" destId="{8D05FFDD-29D2-4D32-BA83-9D0190345B0E}" srcOrd="0" destOrd="0" presId="urn:microsoft.com/office/officeart/2005/8/layout/orgChart1"/>
    <dgm:cxn modelId="{85D46AE8-C9E3-471B-989B-8128B722E4D6}" type="presParOf" srcId="{8D05FFDD-29D2-4D32-BA83-9D0190345B0E}" destId="{999DB62E-3CDC-43DB-87B6-21F1014E2888}" srcOrd="0" destOrd="0" presId="urn:microsoft.com/office/officeart/2005/8/layout/orgChart1"/>
    <dgm:cxn modelId="{84F17712-F9BD-4E15-9890-F46D020CF52F}" type="presParOf" srcId="{8D05FFDD-29D2-4D32-BA83-9D0190345B0E}" destId="{1983F691-A2CA-4A5D-AFBE-7E8632618A13}" srcOrd="1" destOrd="0" presId="urn:microsoft.com/office/officeart/2005/8/layout/orgChart1"/>
    <dgm:cxn modelId="{783A62AD-3032-4B55-B7DB-33C8540E39DC}" type="presParOf" srcId="{0AB53511-2B01-4162-BB0D-82510CE927E1}" destId="{1819B677-B365-4C48-8BC3-F8F26DC1A95E}" srcOrd="1" destOrd="0" presId="urn:microsoft.com/office/officeart/2005/8/layout/orgChart1"/>
    <dgm:cxn modelId="{1246FA0D-9044-4FBB-A09B-55F2E4E3F371}" type="presParOf" srcId="{0AB53511-2B01-4162-BB0D-82510CE927E1}" destId="{D4BE5A34-5187-462F-AE90-A06307F90CE6}" srcOrd="2" destOrd="0" presId="urn:microsoft.com/office/officeart/2005/8/layout/orgChart1"/>
    <dgm:cxn modelId="{DB0FEB24-8967-4251-BC5A-FB810B57CDFA}" type="presParOf" srcId="{2125DE4E-3DD9-4D75-BBBD-ADBFE48D778C}" destId="{BEBFDBA5-3C59-458E-A11A-9A6706791714}" srcOrd="2" destOrd="0" presId="urn:microsoft.com/office/officeart/2005/8/layout/orgChart1"/>
    <dgm:cxn modelId="{2EE02F30-31A0-48B5-8B71-25AD1B6836BA}" type="presParOf" srcId="{52CF0F0B-67CC-4F6B-BFF0-22107935D4F0}" destId="{67647301-4A8A-4960-BCE7-BF044836B306}" srcOrd="2" destOrd="0" presId="urn:microsoft.com/office/officeart/2005/8/layout/orgChart1"/>
    <dgm:cxn modelId="{D7EEE82E-019D-4550-BF3D-C2CF94DBF5C5}" type="presParOf" srcId="{52CF0F0B-67CC-4F6B-BFF0-22107935D4F0}" destId="{4821A190-92E1-476B-9C1B-C79E241E8420}" srcOrd="3" destOrd="0" presId="urn:microsoft.com/office/officeart/2005/8/layout/orgChart1"/>
    <dgm:cxn modelId="{D403014B-4768-4664-BA9C-7764779B4CCE}" type="presParOf" srcId="{4821A190-92E1-476B-9C1B-C79E241E8420}" destId="{8F0C610B-2ADD-483B-804B-C870E7B2F9D4}" srcOrd="0" destOrd="0" presId="urn:microsoft.com/office/officeart/2005/8/layout/orgChart1"/>
    <dgm:cxn modelId="{343B819C-3D25-4FB8-AA9E-6236031C4DD0}" type="presParOf" srcId="{8F0C610B-2ADD-483B-804B-C870E7B2F9D4}" destId="{2872A469-555A-4465-A4BE-DB8E05B77CB3}" srcOrd="0" destOrd="0" presId="urn:microsoft.com/office/officeart/2005/8/layout/orgChart1"/>
    <dgm:cxn modelId="{3C9B7C27-B564-4565-98D4-C0DE837B6BA0}" type="presParOf" srcId="{8F0C610B-2ADD-483B-804B-C870E7B2F9D4}" destId="{A33D778B-59DF-4977-8E82-5C7990893923}" srcOrd="1" destOrd="0" presId="urn:microsoft.com/office/officeart/2005/8/layout/orgChart1"/>
    <dgm:cxn modelId="{F93DA96C-4C8A-44C6-B8DD-4260B6464885}" type="presParOf" srcId="{4821A190-92E1-476B-9C1B-C79E241E8420}" destId="{DD6E4FDA-01F7-494E-9B55-BDF56E471200}" srcOrd="1" destOrd="0" presId="urn:microsoft.com/office/officeart/2005/8/layout/orgChart1"/>
    <dgm:cxn modelId="{2F1F93E6-CB0D-4011-AF42-62888CE56CE3}" type="presParOf" srcId="{DD6E4FDA-01F7-494E-9B55-BDF56E471200}" destId="{CC347602-F71F-406A-BB89-73CD577746AB}" srcOrd="0" destOrd="0" presId="urn:microsoft.com/office/officeart/2005/8/layout/orgChart1"/>
    <dgm:cxn modelId="{2F973A28-B066-4A8E-BB93-8F6DFD29874F}" type="presParOf" srcId="{DD6E4FDA-01F7-494E-9B55-BDF56E471200}" destId="{051199FA-C871-40C6-84ED-C46268AF212E}" srcOrd="1" destOrd="0" presId="urn:microsoft.com/office/officeart/2005/8/layout/orgChart1"/>
    <dgm:cxn modelId="{72B265DA-E9E2-4159-99BB-DEC820EFA12A}" type="presParOf" srcId="{051199FA-C871-40C6-84ED-C46268AF212E}" destId="{36CF01E2-A955-4512-A465-C1985761DD22}" srcOrd="0" destOrd="0" presId="urn:microsoft.com/office/officeart/2005/8/layout/orgChart1"/>
    <dgm:cxn modelId="{54EAAF9E-0748-405E-A6EC-D2F1BACECF38}" type="presParOf" srcId="{36CF01E2-A955-4512-A465-C1985761DD22}" destId="{BFF9B4BA-F104-4C10-A67F-392C88E9766D}" srcOrd="0" destOrd="0" presId="urn:microsoft.com/office/officeart/2005/8/layout/orgChart1"/>
    <dgm:cxn modelId="{8649A18E-DCF5-4CDE-9DDF-178CB1834714}" type="presParOf" srcId="{36CF01E2-A955-4512-A465-C1985761DD22}" destId="{AB59253F-2FAD-41E4-8AF3-3D7258EA4529}" srcOrd="1" destOrd="0" presId="urn:microsoft.com/office/officeart/2005/8/layout/orgChart1"/>
    <dgm:cxn modelId="{38069E10-C073-4487-9528-9CFE23349A55}" type="presParOf" srcId="{051199FA-C871-40C6-84ED-C46268AF212E}" destId="{AB7728D5-F0C1-4280-9E56-0AB811D6FAE5}" srcOrd="1" destOrd="0" presId="urn:microsoft.com/office/officeart/2005/8/layout/orgChart1"/>
    <dgm:cxn modelId="{3F7FE5F5-C9E6-4F10-9C71-D6CE67CF8218}" type="presParOf" srcId="{051199FA-C871-40C6-84ED-C46268AF212E}" destId="{74127188-4CF0-4A52-AA82-79E2A752D44E}" srcOrd="2" destOrd="0" presId="urn:microsoft.com/office/officeart/2005/8/layout/orgChart1"/>
    <dgm:cxn modelId="{5BC89404-40E6-4ACB-82F8-926E471890D2}" type="presParOf" srcId="{4821A190-92E1-476B-9C1B-C79E241E8420}" destId="{861DAF22-06F6-40E5-A9EA-DC6BF396B669}" srcOrd="2" destOrd="0" presId="urn:microsoft.com/office/officeart/2005/8/layout/orgChart1"/>
    <dgm:cxn modelId="{CB1CFD90-3A58-4E4D-A827-E4F8B1FC02B3}" type="presParOf" srcId="{52CF0F0B-67CC-4F6B-BFF0-22107935D4F0}" destId="{C1FBC138-D180-422A-A48B-331D4470A2B6}" srcOrd="4" destOrd="0" presId="urn:microsoft.com/office/officeart/2005/8/layout/orgChart1"/>
    <dgm:cxn modelId="{6B1E8947-0C1E-4F32-9ABE-7899405F56F1}" type="presParOf" srcId="{52CF0F0B-67CC-4F6B-BFF0-22107935D4F0}" destId="{060C8E22-EA56-42AF-A61E-AB069BCC37A5}" srcOrd="5" destOrd="0" presId="urn:microsoft.com/office/officeart/2005/8/layout/orgChart1"/>
    <dgm:cxn modelId="{1F547AF6-B794-4D9E-9F94-BF478F0B311F}" type="presParOf" srcId="{060C8E22-EA56-42AF-A61E-AB069BCC37A5}" destId="{AC95B4BB-C218-4D53-AC18-D89CD29BB11E}" srcOrd="0" destOrd="0" presId="urn:microsoft.com/office/officeart/2005/8/layout/orgChart1"/>
    <dgm:cxn modelId="{BECA6D52-5EBA-4CA3-A28D-9C21BA2D2529}" type="presParOf" srcId="{AC95B4BB-C218-4D53-AC18-D89CD29BB11E}" destId="{F2998657-FCE0-4464-8F1B-B42FACE656FF}" srcOrd="0" destOrd="0" presId="urn:microsoft.com/office/officeart/2005/8/layout/orgChart1"/>
    <dgm:cxn modelId="{A81E749D-FF4E-430E-8E53-8F243B8E7AA6}" type="presParOf" srcId="{AC95B4BB-C218-4D53-AC18-D89CD29BB11E}" destId="{3B61E443-2BD1-4769-BEA4-EE1C1E90C4FB}" srcOrd="1" destOrd="0" presId="urn:microsoft.com/office/officeart/2005/8/layout/orgChart1"/>
    <dgm:cxn modelId="{C5BEEFDE-7794-4B65-8CAE-BD9795F65DCC}" type="presParOf" srcId="{060C8E22-EA56-42AF-A61E-AB069BCC37A5}" destId="{75B2A5FE-0341-4328-8D48-C39EA6C6D92C}" srcOrd="1" destOrd="0" presId="urn:microsoft.com/office/officeart/2005/8/layout/orgChart1"/>
    <dgm:cxn modelId="{3F16B4F3-CB8F-4732-AE97-044081F4155A}" type="presParOf" srcId="{75B2A5FE-0341-4328-8D48-C39EA6C6D92C}" destId="{3BE30DF5-5F70-4265-8D49-777130B62C17}" srcOrd="0" destOrd="0" presId="urn:microsoft.com/office/officeart/2005/8/layout/orgChart1"/>
    <dgm:cxn modelId="{85F06964-05CF-4290-B58C-2CDB1EA87CB7}" type="presParOf" srcId="{75B2A5FE-0341-4328-8D48-C39EA6C6D92C}" destId="{775609E4-AA73-4968-95A1-5D32E2CAFB31}" srcOrd="1" destOrd="0" presId="urn:microsoft.com/office/officeart/2005/8/layout/orgChart1"/>
    <dgm:cxn modelId="{F220FBD7-9188-47BD-80D5-A2756C9A244B}" type="presParOf" srcId="{775609E4-AA73-4968-95A1-5D32E2CAFB31}" destId="{13C47631-4FAC-46C8-A499-AEC7754B5A2C}" srcOrd="0" destOrd="0" presId="urn:microsoft.com/office/officeart/2005/8/layout/orgChart1"/>
    <dgm:cxn modelId="{1DE700B7-4E3E-4C9B-89DC-B2F83375B1F7}" type="presParOf" srcId="{13C47631-4FAC-46C8-A499-AEC7754B5A2C}" destId="{8CD4369D-16C0-443C-A673-345A68B0CDBB}" srcOrd="0" destOrd="0" presId="urn:microsoft.com/office/officeart/2005/8/layout/orgChart1"/>
    <dgm:cxn modelId="{99CE85AB-45B5-435F-8B5C-0EAE066C1DA8}" type="presParOf" srcId="{13C47631-4FAC-46C8-A499-AEC7754B5A2C}" destId="{0E4D552E-3F1C-4D74-AF64-A08BDB5EFA5B}" srcOrd="1" destOrd="0" presId="urn:microsoft.com/office/officeart/2005/8/layout/orgChart1"/>
    <dgm:cxn modelId="{DDB11316-89C4-4179-B0B5-9CB1CB029520}" type="presParOf" srcId="{775609E4-AA73-4968-95A1-5D32E2CAFB31}" destId="{628B7E9B-C795-4ADD-93CC-A3C448418B4E}" srcOrd="1" destOrd="0" presId="urn:microsoft.com/office/officeart/2005/8/layout/orgChart1"/>
    <dgm:cxn modelId="{329E63C6-8470-4A09-A35E-4B9A4C552B94}" type="presParOf" srcId="{775609E4-AA73-4968-95A1-5D32E2CAFB31}" destId="{1ACA0327-6CE0-4685-89CC-0531CCF6E7A0}" srcOrd="2" destOrd="0" presId="urn:microsoft.com/office/officeart/2005/8/layout/orgChart1"/>
    <dgm:cxn modelId="{A0FFE5DC-1D63-4092-9FA5-E3F4980CE092}" type="presParOf" srcId="{75B2A5FE-0341-4328-8D48-C39EA6C6D92C}" destId="{71D6434C-D916-4962-AF05-9DBE7ABE9306}" srcOrd="2" destOrd="0" presId="urn:microsoft.com/office/officeart/2005/8/layout/orgChart1"/>
    <dgm:cxn modelId="{5CCC979B-A72F-4275-AB58-8D19595F0B1A}" type="presParOf" srcId="{75B2A5FE-0341-4328-8D48-C39EA6C6D92C}" destId="{F4A026A5-493A-42BF-AE29-9D5CC54E640D}" srcOrd="3" destOrd="0" presId="urn:microsoft.com/office/officeart/2005/8/layout/orgChart1"/>
    <dgm:cxn modelId="{86C6A973-BDA4-447C-90DE-7CCCF49DC5E6}" type="presParOf" srcId="{F4A026A5-493A-42BF-AE29-9D5CC54E640D}" destId="{81CA6DD3-3616-4825-A609-B5463C0265B4}" srcOrd="0" destOrd="0" presId="urn:microsoft.com/office/officeart/2005/8/layout/orgChart1"/>
    <dgm:cxn modelId="{36BC3DBD-9AC7-433D-87DD-EECBA3476082}" type="presParOf" srcId="{81CA6DD3-3616-4825-A609-B5463C0265B4}" destId="{B6DE9EC5-6612-404C-87BC-A12434FEADEA}" srcOrd="0" destOrd="0" presId="urn:microsoft.com/office/officeart/2005/8/layout/orgChart1"/>
    <dgm:cxn modelId="{A18665B9-0947-49AB-82F5-77DD4C59A829}" type="presParOf" srcId="{81CA6DD3-3616-4825-A609-B5463C0265B4}" destId="{AD491545-F1F8-4110-BD5C-E25AC3110330}" srcOrd="1" destOrd="0" presId="urn:microsoft.com/office/officeart/2005/8/layout/orgChart1"/>
    <dgm:cxn modelId="{63487D3D-2456-40D9-A2E1-0021505E40C3}" type="presParOf" srcId="{F4A026A5-493A-42BF-AE29-9D5CC54E640D}" destId="{DF87907A-87D9-4AE5-85BD-CFA81B04B9B8}" srcOrd="1" destOrd="0" presId="urn:microsoft.com/office/officeart/2005/8/layout/orgChart1"/>
    <dgm:cxn modelId="{CB95E71D-8BB3-4CF7-BBFC-ECCDD649C425}" type="presParOf" srcId="{F4A026A5-493A-42BF-AE29-9D5CC54E640D}" destId="{0BD2B3C3-08EE-4D63-A425-1F4CF4486428}" srcOrd="2" destOrd="0" presId="urn:microsoft.com/office/officeart/2005/8/layout/orgChart1"/>
    <dgm:cxn modelId="{87799DAE-2CAB-4E36-AE80-E72CDF23BA1C}" type="presParOf" srcId="{060C8E22-EA56-42AF-A61E-AB069BCC37A5}" destId="{642F3B22-B826-48A2-8BCF-D6AE8F05A130}" srcOrd="2" destOrd="0" presId="urn:microsoft.com/office/officeart/2005/8/layout/orgChart1"/>
    <dgm:cxn modelId="{1A5C8438-435D-483B-BC15-A405D51BB31D}" type="presParOf" srcId="{52CF0F0B-67CC-4F6B-BFF0-22107935D4F0}" destId="{3A073ED1-CDD7-45A6-B86E-398A96E12816}" srcOrd="6" destOrd="0" presId="urn:microsoft.com/office/officeart/2005/8/layout/orgChart1"/>
    <dgm:cxn modelId="{C73D77B6-2D19-4BEE-A0C0-43E3F0DE30A5}" type="presParOf" srcId="{52CF0F0B-67CC-4F6B-BFF0-22107935D4F0}" destId="{B3E33F02-1A09-405F-8029-D7147C5A9177}" srcOrd="7" destOrd="0" presId="urn:microsoft.com/office/officeart/2005/8/layout/orgChart1"/>
    <dgm:cxn modelId="{DCC428D2-327A-4A43-8C51-FD283E03FBE4}" type="presParOf" srcId="{B3E33F02-1A09-405F-8029-D7147C5A9177}" destId="{C5F08E65-4B02-4FF8-B2EE-1B7B6E00F1EA}" srcOrd="0" destOrd="0" presId="urn:microsoft.com/office/officeart/2005/8/layout/orgChart1"/>
    <dgm:cxn modelId="{E312B61D-6B46-483A-BAA9-B2105C42B4B8}" type="presParOf" srcId="{C5F08E65-4B02-4FF8-B2EE-1B7B6E00F1EA}" destId="{3BFC7581-D0ED-4A79-8825-9CEA52F751D0}" srcOrd="0" destOrd="0" presId="urn:microsoft.com/office/officeart/2005/8/layout/orgChart1"/>
    <dgm:cxn modelId="{78602CED-2100-403A-8F65-CEFBDD503E96}" type="presParOf" srcId="{C5F08E65-4B02-4FF8-B2EE-1B7B6E00F1EA}" destId="{D2E62CDC-D875-46FB-AD5B-8D9C8E7C5A05}" srcOrd="1" destOrd="0" presId="urn:microsoft.com/office/officeart/2005/8/layout/orgChart1"/>
    <dgm:cxn modelId="{29D9D4D7-AB43-450A-B902-7AB859F7D023}" type="presParOf" srcId="{B3E33F02-1A09-405F-8029-D7147C5A9177}" destId="{75741C93-3A96-45B2-A7DF-C4745E871F85}" srcOrd="1" destOrd="0" presId="urn:microsoft.com/office/officeart/2005/8/layout/orgChart1"/>
    <dgm:cxn modelId="{7009A332-801C-4526-9021-D6BC244AE901}" type="presParOf" srcId="{75741C93-3A96-45B2-A7DF-C4745E871F85}" destId="{620F2DCB-FCE7-40D2-B9C9-6905165273A3}" srcOrd="0" destOrd="0" presId="urn:microsoft.com/office/officeart/2005/8/layout/orgChart1"/>
    <dgm:cxn modelId="{4E8EBD20-15BE-4751-AABB-16ECB3BE0A04}" type="presParOf" srcId="{75741C93-3A96-45B2-A7DF-C4745E871F85}" destId="{49D30F07-94CA-4DBA-8DB0-E33F8B4CE750}" srcOrd="1" destOrd="0" presId="urn:microsoft.com/office/officeart/2005/8/layout/orgChart1"/>
    <dgm:cxn modelId="{C895D06C-A87F-42C8-9AD7-62DE61080A15}" type="presParOf" srcId="{49D30F07-94CA-4DBA-8DB0-E33F8B4CE750}" destId="{DA14C588-D7E3-4FDC-B83E-7001649A8808}" srcOrd="0" destOrd="0" presId="urn:microsoft.com/office/officeart/2005/8/layout/orgChart1"/>
    <dgm:cxn modelId="{23472627-69B8-4DCA-AACE-7D13C6740609}" type="presParOf" srcId="{DA14C588-D7E3-4FDC-B83E-7001649A8808}" destId="{F9DDFEF2-2C3B-428A-B10D-1609267618B1}" srcOrd="0" destOrd="0" presId="urn:microsoft.com/office/officeart/2005/8/layout/orgChart1"/>
    <dgm:cxn modelId="{4903E7CF-7B05-44D3-B8F5-5E592485B2C9}" type="presParOf" srcId="{DA14C588-D7E3-4FDC-B83E-7001649A8808}" destId="{EA23C9B9-7858-4146-BF78-646D9AD1C8CA}" srcOrd="1" destOrd="0" presId="urn:microsoft.com/office/officeart/2005/8/layout/orgChart1"/>
    <dgm:cxn modelId="{920B4127-1B89-476E-98EF-FAFB2BDEAB13}" type="presParOf" srcId="{49D30F07-94CA-4DBA-8DB0-E33F8B4CE750}" destId="{91B6B720-3EF0-48D1-8ED2-6AA43C84ED13}" srcOrd="1" destOrd="0" presId="urn:microsoft.com/office/officeart/2005/8/layout/orgChart1"/>
    <dgm:cxn modelId="{537A8E43-FD11-488E-B996-3E97740161E1}" type="presParOf" srcId="{49D30F07-94CA-4DBA-8DB0-E33F8B4CE750}" destId="{21F08746-FCC7-46D3-BDBF-9114CA426C96}" srcOrd="2" destOrd="0" presId="urn:microsoft.com/office/officeart/2005/8/layout/orgChart1"/>
    <dgm:cxn modelId="{437F05EF-0E9D-403B-9DC3-F496C2B86E9D}" type="presParOf" srcId="{B3E33F02-1A09-405F-8029-D7147C5A9177}" destId="{FD23C769-0A6D-413A-9A00-F8CD8CE40E8E}" srcOrd="2" destOrd="0" presId="urn:microsoft.com/office/officeart/2005/8/layout/orgChart1"/>
    <dgm:cxn modelId="{042B6F8D-F7F6-4E07-ADFC-4A6892ECB280}" type="presParOf" srcId="{01F2942D-5499-421A-8446-424FC398EDDF}" destId="{0632439C-E919-4198-9A9A-580B7DD92D28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0F2DCB-FCE7-40D2-B9C9-6905165273A3}">
      <dsp:nvSpPr>
        <dsp:cNvPr id="0" name=""/>
        <dsp:cNvSpPr/>
      </dsp:nvSpPr>
      <dsp:spPr>
        <a:xfrm>
          <a:off x="8590604" y="1559519"/>
          <a:ext cx="91440" cy="14391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A073ED1-CDD7-45A6-B86E-398A96E12816}">
      <dsp:nvSpPr>
        <dsp:cNvPr id="0" name=""/>
        <dsp:cNvSpPr/>
      </dsp:nvSpPr>
      <dsp:spPr>
        <a:xfrm>
          <a:off x="5734018" y="834186"/>
          <a:ext cx="2902305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2902305" y="71957"/>
              </a:lnTo>
              <a:lnTo>
                <a:pt x="2902305" y="14391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D6434C-D916-4962-AF05-9DBE7ABE9306}">
      <dsp:nvSpPr>
        <dsp:cNvPr id="0" name=""/>
        <dsp:cNvSpPr/>
      </dsp:nvSpPr>
      <dsp:spPr>
        <a:xfrm>
          <a:off x="7392479" y="1559519"/>
          <a:ext cx="414615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414615" y="71957"/>
              </a:lnTo>
              <a:lnTo>
                <a:pt x="414615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E30DF5-5F70-4265-8D49-777130B62C17}">
      <dsp:nvSpPr>
        <dsp:cNvPr id="0" name=""/>
        <dsp:cNvSpPr/>
      </dsp:nvSpPr>
      <dsp:spPr>
        <a:xfrm>
          <a:off x="6977864" y="1559519"/>
          <a:ext cx="414615" cy="143915"/>
        </a:xfrm>
        <a:custGeom>
          <a:avLst/>
          <a:gdLst/>
          <a:ahLst/>
          <a:cxnLst/>
          <a:rect l="0" t="0" r="0" b="0"/>
          <a:pathLst>
            <a:path>
              <a:moveTo>
                <a:pt x="414615" y="0"/>
              </a:moveTo>
              <a:lnTo>
                <a:pt x="414615" y="71957"/>
              </a:lnTo>
              <a:lnTo>
                <a:pt x="0" y="71957"/>
              </a:lnTo>
              <a:lnTo>
                <a:pt x="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FBC138-D180-422A-A48B-331D4470A2B6}">
      <dsp:nvSpPr>
        <dsp:cNvPr id="0" name=""/>
        <dsp:cNvSpPr/>
      </dsp:nvSpPr>
      <dsp:spPr>
        <a:xfrm>
          <a:off x="5734018" y="834186"/>
          <a:ext cx="1658460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1658460" y="71957"/>
              </a:lnTo>
              <a:lnTo>
                <a:pt x="1658460" y="14391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347602-F71F-406A-BB89-73CD577746AB}">
      <dsp:nvSpPr>
        <dsp:cNvPr id="0" name=""/>
        <dsp:cNvSpPr/>
      </dsp:nvSpPr>
      <dsp:spPr>
        <a:xfrm>
          <a:off x="6102913" y="1559519"/>
          <a:ext cx="91440" cy="14391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7647301-4A8A-4960-BCE7-BF044836B306}">
      <dsp:nvSpPr>
        <dsp:cNvPr id="0" name=""/>
        <dsp:cNvSpPr/>
      </dsp:nvSpPr>
      <dsp:spPr>
        <a:xfrm>
          <a:off x="5734018" y="834186"/>
          <a:ext cx="414615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414615" y="71957"/>
              </a:lnTo>
              <a:lnTo>
                <a:pt x="414615" y="14391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4E997F-71E4-4EA7-B323-53C38E330A59}">
      <dsp:nvSpPr>
        <dsp:cNvPr id="0" name=""/>
        <dsp:cNvSpPr/>
      </dsp:nvSpPr>
      <dsp:spPr>
        <a:xfrm>
          <a:off x="2831713" y="1559519"/>
          <a:ext cx="2487690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2487690" y="71957"/>
              </a:lnTo>
              <a:lnTo>
                <a:pt x="248769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4969E8-8ADD-4CAC-89FF-D71CFE957B26}">
      <dsp:nvSpPr>
        <dsp:cNvPr id="0" name=""/>
        <dsp:cNvSpPr/>
      </dsp:nvSpPr>
      <dsp:spPr>
        <a:xfrm>
          <a:off x="2831713" y="1559519"/>
          <a:ext cx="1658460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1658460" y="71957"/>
              </a:lnTo>
              <a:lnTo>
                <a:pt x="165846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1C890C-31B7-4BA4-9988-7CE4F6FD93C2}">
      <dsp:nvSpPr>
        <dsp:cNvPr id="0" name=""/>
        <dsp:cNvSpPr/>
      </dsp:nvSpPr>
      <dsp:spPr>
        <a:xfrm>
          <a:off x="2831713" y="1559519"/>
          <a:ext cx="829230" cy="14391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957"/>
              </a:lnTo>
              <a:lnTo>
                <a:pt x="829230" y="71957"/>
              </a:lnTo>
              <a:lnTo>
                <a:pt x="82923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F317A3-CECA-473A-8567-41B1ABA4E68D}">
      <dsp:nvSpPr>
        <dsp:cNvPr id="0" name=""/>
        <dsp:cNvSpPr/>
      </dsp:nvSpPr>
      <dsp:spPr>
        <a:xfrm>
          <a:off x="2785993" y="1559519"/>
          <a:ext cx="91440" cy="14391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C08C39E-9784-46C6-BC40-A57124CB8419}">
      <dsp:nvSpPr>
        <dsp:cNvPr id="0" name=""/>
        <dsp:cNvSpPr/>
      </dsp:nvSpPr>
      <dsp:spPr>
        <a:xfrm>
          <a:off x="2002483" y="1559519"/>
          <a:ext cx="829230" cy="143915"/>
        </a:xfrm>
        <a:custGeom>
          <a:avLst/>
          <a:gdLst/>
          <a:ahLst/>
          <a:cxnLst/>
          <a:rect l="0" t="0" r="0" b="0"/>
          <a:pathLst>
            <a:path>
              <a:moveTo>
                <a:pt x="829230" y="0"/>
              </a:moveTo>
              <a:lnTo>
                <a:pt x="829230" y="71957"/>
              </a:lnTo>
              <a:lnTo>
                <a:pt x="0" y="71957"/>
              </a:lnTo>
              <a:lnTo>
                <a:pt x="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CF5D2E-FCE6-475B-B7EB-C414DEFE762C}">
      <dsp:nvSpPr>
        <dsp:cNvPr id="0" name=""/>
        <dsp:cNvSpPr/>
      </dsp:nvSpPr>
      <dsp:spPr>
        <a:xfrm>
          <a:off x="1173253" y="1559519"/>
          <a:ext cx="1658460" cy="143915"/>
        </a:xfrm>
        <a:custGeom>
          <a:avLst/>
          <a:gdLst/>
          <a:ahLst/>
          <a:cxnLst/>
          <a:rect l="0" t="0" r="0" b="0"/>
          <a:pathLst>
            <a:path>
              <a:moveTo>
                <a:pt x="1658460" y="0"/>
              </a:moveTo>
              <a:lnTo>
                <a:pt x="1658460" y="71957"/>
              </a:lnTo>
              <a:lnTo>
                <a:pt x="0" y="71957"/>
              </a:lnTo>
              <a:lnTo>
                <a:pt x="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909C0D-0788-41CA-BC2A-04CE6A35B5D8}">
      <dsp:nvSpPr>
        <dsp:cNvPr id="0" name=""/>
        <dsp:cNvSpPr/>
      </dsp:nvSpPr>
      <dsp:spPr>
        <a:xfrm>
          <a:off x="344023" y="1559519"/>
          <a:ext cx="2487690" cy="143915"/>
        </a:xfrm>
        <a:custGeom>
          <a:avLst/>
          <a:gdLst/>
          <a:ahLst/>
          <a:cxnLst/>
          <a:rect l="0" t="0" r="0" b="0"/>
          <a:pathLst>
            <a:path>
              <a:moveTo>
                <a:pt x="2487690" y="0"/>
              </a:moveTo>
              <a:lnTo>
                <a:pt x="2487690" y="71957"/>
              </a:lnTo>
              <a:lnTo>
                <a:pt x="0" y="71957"/>
              </a:lnTo>
              <a:lnTo>
                <a:pt x="0" y="143915"/>
              </a:lnTo>
            </a:path>
          </a:pathLst>
        </a:custGeom>
        <a:noFill/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4531DC-D68F-4B27-95A7-87D73835AA79}">
      <dsp:nvSpPr>
        <dsp:cNvPr id="0" name=""/>
        <dsp:cNvSpPr/>
      </dsp:nvSpPr>
      <dsp:spPr>
        <a:xfrm>
          <a:off x="2831713" y="834186"/>
          <a:ext cx="2902305" cy="143915"/>
        </a:xfrm>
        <a:custGeom>
          <a:avLst/>
          <a:gdLst/>
          <a:ahLst/>
          <a:cxnLst/>
          <a:rect l="0" t="0" r="0" b="0"/>
          <a:pathLst>
            <a:path>
              <a:moveTo>
                <a:pt x="2902305" y="0"/>
              </a:moveTo>
              <a:lnTo>
                <a:pt x="2902305" y="71957"/>
              </a:lnTo>
              <a:lnTo>
                <a:pt x="0" y="71957"/>
              </a:lnTo>
              <a:lnTo>
                <a:pt x="0" y="143915"/>
              </a:lnTo>
            </a:path>
          </a:pathLst>
        </a:cu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9B321-6151-4B30-B74E-DCAF498B6A27}">
      <dsp:nvSpPr>
        <dsp:cNvPr id="0" name=""/>
        <dsp:cNvSpPr/>
      </dsp:nvSpPr>
      <dsp:spPr>
        <a:xfrm>
          <a:off x="5079927" y="143756"/>
          <a:ext cx="1308182" cy="69043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66725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50" kern="1200" dirty="0" smtClean="0"/>
            <a:t>openKONSEQUENZ Pilotphase und Pilotprojekt</a:t>
          </a:r>
        </a:p>
      </dsp:txBody>
      <dsp:txXfrm>
        <a:off x="5079927" y="143756"/>
        <a:ext cx="1308182" cy="690430"/>
      </dsp:txXfrm>
    </dsp:sp>
    <dsp:sp modelId="{A2DE6312-2DAC-4E2E-AA7F-5D98FC33D954}">
      <dsp:nvSpPr>
        <dsp:cNvPr id="0" name=""/>
        <dsp:cNvSpPr/>
      </dsp:nvSpPr>
      <dsp:spPr>
        <a:xfrm>
          <a:off x="2359312" y="978102"/>
          <a:ext cx="944801" cy="58141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100" kern="1200" dirty="0" err="1" smtClean="0"/>
            <a:t>Steering</a:t>
          </a:r>
          <a:r>
            <a:rPr lang="de-DE" altLang="de-DE" sz="1100" kern="1200" dirty="0" smtClean="0"/>
            <a:t> Committee</a:t>
          </a:r>
        </a:p>
      </dsp:txBody>
      <dsp:txXfrm>
        <a:off x="2359312" y="978102"/>
        <a:ext cx="944801" cy="581417"/>
      </dsp:txXfrm>
    </dsp:sp>
    <dsp:sp modelId="{7470010B-5E4A-4727-AF4B-3272C499A4E4}">
      <dsp:nvSpPr>
        <dsp:cNvPr id="0" name=""/>
        <dsp:cNvSpPr/>
      </dsp:nvSpPr>
      <dsp:spPr>
        <a:xfrm>
          <a:off x="1365" y="1703435"/>
          <a:ext cx="685314" cy="117662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P S1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Strategie</a:t>
          </a:r>
          <a:endParaRPr lang="de-DE" sz="1000" kern="1200" dirty="0"/>
        </a:p>
      </dsp:txBody>
      <dsp:txXfrm>
        <a:off x="1365" y="1703435"/>
        <a:ext cx="685314" cy="1176626"/>
      </dsp:txXfrm>
    </dsp:sp>
    <dsp:sp modelId="{1B7C6602-36C4-4CF5-923B-BBF40265C1CC}">
      <dsp:nvSpPr>
        <dsp:cNvPr id="0" name=""/>
        <dsp:cNvSpPr/>
      </dsp:nvSpPr>
      <dsp:spPr>
        <a:xfrm>
          <a:off x="83059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P S2</a:t>
          </a:r>
        </a:p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Workshop vor- bereiten</a:t>
          </a:r>
          <a:endParaRPr lang="de-DE" altLang="de-DE" sz="1000" kern="1200" dirty="0" smtClean="0"/>
        </a:p>
      </dsp:txBody>
      <dsp:txXfrm>
        <a:off x="830596" y="1703435"/>
        <a:ext cx="685314" cy="1162830"/>
      </dsp:txXfrm>
    </dsp:sp>
    <dsp:sp modelId="{A780E725-FB04-4C98-8674-107A36CE86C5}">
      <dsp:nvSpPr>
        <dsp:cNvPr id="0" name=""/>
        <dsp:cNvSpPr/>
      </dsp:nvSpPr>
      <dsp:spPr>
        <a:xfrm>
          <a:off x="165982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smtClean="0"/>
            <a:t>AP S3</a:t>
          </a:r>
        </a:p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Öffentlich-</a:t>
          </a:r>
          <a:r>
            <a:rPr lang="de-DE" sz="1000" kern="1200" dirty="0" err="1" smtClean="0"/>
            <a:t>keitsarbeit</a:t>
          </a:r>
          <a:endParaRPr lang="de-DE" altLang="de-DE" sz="1000" kern="1200" dirty="0" smtClean="0"/>
        </a:p>
      </dsp:txBody>
      <dsp:txXfrm>
        <a:off x="1659826" y="1703435"/>
        <a:ext cx="685314" cy="1162830"/>
      </dsp:txXfrm>
    </dsp:sp>
    <dsp:sp modelId="{460E0A90-0521-47E6-89E5-C70A21A71710}">
      <dsp:nvSpPr>
        <dsp:cNvPr id="0" name=""/>
        <dsp:cNvSpPr/>
      </dsp:nvSpPr>
      <dsp:spPr>
        <a:xfrm>
          <a:off x="248905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smtClean="0"/>
            <a:t>AP S4</a:t>
          </a:r>
        </a:p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Förderung</a:t>
          </a:r>
          <a:endParaRPr lang="de-DE" altLang="de-DE" sz="1000" kern="1200" dirty="0" smtClean="0"/>
        </a:p>
      </dsp:txBody>
      <dsp:txXfrm>
        <a:off x="2489056" y="1703435"/>
        <a:ext cx="685314" cy="1162830"/>
      </dsp:txXfrm>
    </dsp:sp>
    <dsp:sp modelId="{D5B9E64C-DA8E-40AE-AA34-DFBCEDFFA129}">
      <dsp:nvSpPr>
        <dsp:cNvPr id="0" name=""/>
        <dsp:cNvSpPr/>
      </dsp:nvSpPr>
      <dsp:spPr>
        <a:xfrm>
          <a:off x="331828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P S5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Finanzier-</a:t>
          </a:r>
          <a:r>
            <a:rPr lang="de-DE" sz="1000" kern="1200" dirty="0" err="1" smtClean="0"/>
            <a:t>ungs</a:t>
          </a:r>
          <a:r>
            <a:rPr lang="de-DE" sz="1000" kern="1200" dirty="0" smtClean="0"/>
            <a:t>-modell</a:t>
          </a:r>
          <a:endParaRPr lang="de-DE" sz="1000" kern="1200" dirty="0"/>
        </a:p>
      </dsp:txBody>
      <dsp:txXfrm>
        <a:off x="3318286" y="1703435"/>
        <a:ext cx="685314" cy="1162830"/>
      </dsp:txXfrm>
    </dsp:sp>
    <dsp:sp modelId="{0B1C0C4E-CC73-4891-93E4-52C321ED2403}">
      <dsp:nvSpPr>
        <dsp:cNvPr id="0" name=""/>
        <dsp:cNvSpPr/>
      </dsp:nvSpPr>
      <dsp:spPr>
        <a:xfrm>
          <a:off x="4147516" y="1703435"/>
          <a:ext cx="685314" cy="117714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P S6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Juristische Fragen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1000" kern="1200" dirty="0"/>
        </a:p>
      </dsp:txBody>
      <dsp:txXfrm>
        <a:off x="4147516" y="1703435"/>
        <a:ext cx="685314" cy="1177143"/>
      </dsp:txXfrm>
    </dsp:sp>
    <dsp:sp modelId="{999DB62E-3CDC-43DB-87B6-21F1014E2888}">
      <dsp:nvSpPr>
        <dsp:cNvPr id="0" name=""/>
        <dsp:cNvSpPr/>
      </dsp:nvSpPr>
      <dsp:spPr>
        <a:xfrm>
          <a:off x="497674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P S7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Budget Bestellung Buch-haltung</a:t>
          </a:r>
          <a:endParaRPr lang="de-DE" sz="1000" kern="1200" dirty="0"/>
        </a:p>
      </dsp:txBody>
      <dsp:txXfrm>
        <a:off x="4976746" y="1703435"/>
        <a:ext cx="685314" cy="1162830"/>
      </dsp:txXfrm>
    </dsp:sp>
    <dsp:sp modelId="{2872A469-555A-4465-A4BE-DB8E05B77CB3}">
      <dsp:nvSpPr>
        <dsp:cNvPr id="0" name=""/>
        <dsp:cNvSpPr/>
      </dsp:nvSpPr>
      <dsp:spPr>
        <a:xfrm>
          <a:off x="5676233" y="978102"/>
          <a:ext cx="944801" cy="58141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100" kern="1200" dirty="0" smtClean="0"/>
            <a:t>Project </a:t>
          </a:r>
          <a:r>
            <a:rPr lang="de-DE" altLang="de-DE" sz="1100" kern="1200" dirty="0" err="1" smtClean="0"/>
            <a:t>Planning</a:t>
          </a:r>
          <a:r>
            <a:rPr lang="de-DE" altLang="de-DE" sz="1100" kern="1200" dirty="0" smtClean="0"/>
            <a:t> Committee</a:t>
          </a:r>
        </a:p>
      </dsp:txBody>
      <dsp:txXfrm>
        <a:off x="5676233" y="978102"/>
        <a:ext cx="944801" cy="581417"/>
      </dsp:txXfrm>
    </dsp:sp>
    <dsp:sp modelId="{BFF9B4BA-F104-4C10-A67F-392C88E9766D}">
      <dsp:nvSpPr>
        <dsp:cNvPr id="0" name=""/>
        <dsp:cNvSpPr/>
      </dsp:nvSpPr>
      <dsp:spPr>
        <a:xfrm>
          <a:off x="580597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AP P1</a:t>
          </a:r>
        </a:p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Pilotprojekt (</a:t>
          </a:r>
          <a:r>
            <a:rPr lang="de-DE" sz="1000" kern="1200" dirty="0" err="1" smtClean="0"/>
            <a:t>Product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Owner</a:t>
          </a:r>
          <a:r>
            <a:rPr lang="de-DE" sz="1000" kern="1200" dirty="0" smtClean="0"/>
            <a:t>)</a:t>
          </a:r>
          <a:endParaRPr lang="de-DE" altLang="de-DE" sz="1000" kern="1200" dirty="0" smtClean="0"/>
        </a:p>
      </dsp:txBody>
      <dsp:txXfrm>
        <a:off x="5805976" y="1703435"/>
        <a:ext cx="685314" cy="1162830"/>
      </dsp:txXfrm>
    </dsp:sp>
    <dsp:sp modelId="{F2998657-FCE0-4464-8F1B-B42FACE656FF}">
      <dsp:nvSpPr>
        <dsp:cNvPr id="0" name=""/>
        <dsp:cNvSpPr/>
      </dsp:nvSpPr>
      <dsp:spPr>
        <a:xfrm>
          <a:off x="6920078" y="978102"/>
          <a:ext cx="944801" cy="58141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100" kern="1200" dirty="0" smtClean="0"/>
            <a:t>Quality Committee</a:t>
          </a:r>
        </a:p>
      </dsp:txBody>
      <dsp:txXfrm>
        <a:off x="6920078" y="978102"/>
        <a:ext cx="944801" cy="581417"/>
      </dsp:txXfrm>
    </dsp:sp>
    <dsp:sp modelId="{8CD4369D-16C0-443C-A673-345A68B0CDBB}">
      <dsp:nvSpPr>
        <dsp:cNvPr id="0" name=""/>
        <dsp:cNvSpPr/>
      </dsp:nvSpPr>
      <dsp:spPr>
        <a:xfrm>
          <a:off x="6635206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smtClean="0"/>
            <a:t>AP Q1</a:t>
          </a:r>
        </a:p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err="1" smtClean="0"/>
            <a:t>Refernz-plattform</a:t>
          </a:r>
          <a:endParaRPr lang="de-DE" altLang="de-DE" sz="1000" kern="1200" dirty="0" smtClean="0"/>
        </a:p>
      </dsp:txBody>
      <dsp:txXfrm>
        <a:off x="6635206" y="1703435"/>
        <a:ext cx="685314" cy="1162830"/>
      </dsp:txXfrm>
    </dsp:sp>
    <dsp:sp modelId="{B6DE9EC5-6612-404C-87BC-A12434FEADEA}">
      <dsp:nvSpPr>
        <dsp:cNvPr id="0" name=""/>
        <dsp:cNvSpPr/>
      </dsp:nvSpPr>
      <dsp:spPr>
        <a:xfrm>
          <a:off x="7464437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smtClean="0"/>
            <a:t>AP Q2</a:t>
          </a:r>
        </a:p>
        <a:p>
          <a:pPr lvl="0" algn="ctr" defTabSz="444500" rtl="0" eaLnBrk="1" latinLnBrk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smtClean="0"/>
            <a:t>Ergonomie + GUI</a:t>
          </a:r>
          <a:endParaRPr lang="de-DE" altLang="de-DE" sz="1000" kern="1200" dirty="0" smtClean="0"/>
        </a:p>
      </dsp:txBody>
      <dsp:txXfrm>
        <a:off x="7464437" y="1703435"/>
        <a:ext cx="685314" cy="1162830"/>
      </dsp:txXfrm>
    </dsp:sp>
    <dsp:sp modelId="{3BFC7581-D0ED-4A79-8825-9CEA52F751D0}">
      <dsp:nvSpPr>
        <dsp:cNvPr id="0" name=""/>
        <dsp:cNvSpPr/>
      </dsp:nvSpPr>
      <dsp:spPr>
        <a:xfrm>
          <a:off x="8163923" y="978102"/>
          <a:ext cx="944801" cy="58141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100" kern="1200" dirty="0" err="1" smtClean="0"/>
            <a:t>Architecture</a:t>
          </a:r>
          <a:r>
            <a:rPr lang="de-DE" altLang="de-DE" sz="1100" kern="1200" dirty="0" smtClean="0"/>
            <a:t> Committee</a:t>
          </a:r>
          <a:endParaRPr lang="de-DE" sz="1100" kern="1200" dirty="0"/>
        </a:p>
      </dsp:txBody>
      <dsp:txXfrm>
        <a:off x="8163923" y="978102"/>
        <a:ext cx="944801" cy="581417"/>
      </dsp:txXfrm>
    </dsp:sp>
    <dsp:sp modelId="{F9DDFEF2-2C3B-428A-B10D-1609267618B1}">
      <dsp:nvSpPr>
        <dsp:cNvPr id="0" name=""/>
        <dsp:cNvSpPr/>
      </dsp:nvSpPr>
      <dsp:spPr>
        <a:xfrm>
          <a:off x="8293667" y="1703435"/>
          <a:ext cx="685314" cy="116283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smtClean="0"/>
            <a:t>AP A1 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altLang="de-DE" sz="1000" kern="1200" dirty="0" smtClean="0"/>
            <a:t>IT-Sicherheit</a:t>
          </a:r>
          <a:endParaRPr lang="de-DE" sz="1000" kern="1200" dirty="0"/>
        </a:p>
      </dsp:txBody>
      <dsp:txXfrm>
        <a:off x="8293667" y="1703435"/>
        <a:ext cx="685314" cy="11628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8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8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258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638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258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fld id="{06822197-6479-4370-9864-73718660F51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38619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686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5629"/>
            <a:ext cx="4984750" cy="446793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717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258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17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258"/>
            <a:ext cx="2946400" cy="49696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Frutiger 45 Light" pitchFamily="34" charset="0"/>
              </a:defRPr>
            </a:lvl1pPr>
          </a:lstStyle>
          <a:p>
            <a:pPr>
              <a:defRPr/>
            </a:pPr>
            <a:fld id="{572337EA-4F28-4DFC-A74E-578B2850F31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4379262"/>
      </p:ext>
    </p:extLst>
  </p:cSld>
  <p:clrMap bg1="lt1" tx1="dk1" bg2="lt2" tx2="dk2" accent1="accent1" accent2="accent2" accent3="accent3" accent4="accent4" accent5="accent5" accent6="accent6" hlink="hlink" folHlink="folHlink"/>
  <p:notesStyle>
    <a:lvl1pPr indent="177800" algn="l" rtl="0" eaLnBrk="0" fontAlgn="base" hangingPunct="0">
      <a:spcBef>
        <a:spcPct val="30000"/>
      </a:spcBef>
      <a:spcAft>
        <a:spcPct val="0"/>
      </a:spcAft>
      <a:buClr>
        <a:srgbClr val="D20019"/>
      </a:buClr>
      <a:buFont typeface="Wingdings 3" pitchFamily="18" charset="2"/>
      <a:buChar char=""/>
      <a:defRPr sz="1200" kern="1200">
        <a:solidFill>
          <a:schemeClr val="tx1"/>
        </a:solidFill>
        <a:latin typeface="Frutiger 45 Light" pitchFamily="34" charset="0"/>
        <a:ea typeface="+mn-ea"/>
        <a:cs typeface="+mn-cs"/>
      </a:defRPr>
    </a:lvl1pPr>
    <a:lvl2pPr marL="457200" indent="171450" algn="l" rtl="0" eaLnBrk="0" fontAlgn="base" hangingPunct="0">
      <a:spcBef>
        <a:spcPct val="30000"/>
      </a:spcBef>
      <a:spcAft>
        <a:spcPct val="0"/>
      </a:spcAft>
      <a:buClr>
        <a:srgbClr val="D20019"/>
      </a:buClr>
      <a:buFont typeface="Wingdings 2" pitchFamily="18" charset="2"/>
      <a:buChar char=""/>
      <a:defRPr sz="1200" kern="1200">
        <a:solidFill>
          <a:schemeClr val="tx1"/>
        </a:solidFill>
        <a:latin typeface="Frutiger 45 Light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rutiger 45 Light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rutiger 45 Light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Frutiger 45 Light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F2D2D2-9FFA-4C84-8BD4-40A3E1B45842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OpenKonsequenz_Titelmaster_PPT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6213" y="4325349"/>
            <a:ext cx="8814979" cy="432048"/>
          </a:xfrm>
        </p:spPr>
        <p:txBody>
          <a:bodyPr lIns="0" tIns="0" rIns="0" bIns="0" anchor="t" anchorCtr="0">
            <a:noAutofit/>
          </a:bodyPr>
          <a:lstStyle>
            <a:lvl1pPr algn="l">
              <a:defRPr sz="3600">
                <a:solidFill>
                  <a:schemeClr val="tx2"/>
                </a:solidFill>
                <a:latin typeface="Source Sans Pro Light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6214" y="4905735"/>
            <a:ext cx="8394475" cy="64807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>
                <a:solidFill>
                  <a:schemeClr val="bg1">
                    <a:lumMod val="50000"/>
                  </a:schemeClr>
                </a:solidFill>
                <a:latin typeface="Source Sans Pro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>
          <a:xfrm>
            <a:off x="616784" y="6356355"/>
            <a:ext cx="1293879" cy="365125"/>
          </a:xfrm>
        </p:spPr>
        <p:txBody>
          <a:bodyPr lIns="0" tIns="0" rIns="0" bIns="0" anchor="t" anchorCtr="0"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350090D1-D07C-4CDC-8E8F-0C989AB94F37}" type="datetime4">
              <a:rPr lang="de-DE" smtClean="0"/>
              <a:pPr/>
              <a:t>9. Februar 2015</a:t>
            </a:fld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/>
        </p:nvSpPr>
        <p:spPr>
          <a:xfrm>
            <a:off x="2612740" y="6356355"/>
            <a:ext cx="2311400" cy="365125"/>
          </a:xfrm>
        </p:spPr>
        <p:txBody>
          <a:bodyPr lIns="0" tIns="0" rIns="0" bIns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A2CC9EF-ACBB-4C69-94F7-0B7F0AB4756F}" type="slidenum">
              <a:rPr lang="de-DE" sz="1200" smtClean="0">
                <a:solidFill>
                  <a:srgbClr val="898989"/>
                </a:solidFill>
                <a:latin typeface="Source Sans Pro Ligh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200" dirty="0">
              <a:solidFill>
                <a:srgbClr val="898989"/>
              </a:solidFill>
              <a:latin typeface="Source Sans Pro Light"/>
            </a:endParaRPr>
          </a:p>
        </p:txBody>
      </p:sp>
      <p:sp>
        <p:nvSpPr>
          <p:cNvPr id="18" name="Fußzeilenplatzhalter 17"/>
          <p:cNvSpPr>
            <a:spLocks noGrp="1"/>
          </p:cNvSpPr>
          <p:nvPr/>
        </p:nvSpPr>
        <p:spPr>
          <a:xfrm>
            <a:off x="1910662" y="6356355"/>
            <a:ext cx="624069" cy="365125"/>
          </a:xfrm>
        </p:spPr>
        <p:txBody>
          <a:bodyPr lIns="0" tIns="0" rIns="0" bIns="0" anchor="t" anchorCtr="0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898989"/>
                </a:solidFill>
                <a:latin typeface="Source Sans Pro Light"/>
              </a:rPr>
              <a:t>Seite</a:t>
            </a:r>
            <a:endParaRPr lang="de-DE" sz="1200" dirty="0">
              <a:solidFill>
                <a:srgbClr val="898989"/>
              </a:solidFill>
              <a:latin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2286130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OpenKonsequenz_Folie_PPT_nur_Logo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5448966"/>
            <a:ext cx="8780020" cy="518244"/>
          </a:xfrm>
        </p:spPr>
        <p:txBody>
          <a:bodyPr anchor="t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Grafik 9" descr="Verlaufsstreifen_einzeln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207771"/>
            <a:ext cx="9906000" cy="59436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906000" cy="520481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353781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OpenKonsequenz_Folienmaster_PPT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476672"/>
            <a:ext cx="8780020" cy="734268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9474" y="1744216"/>
            <a:ext cx="8780020" cy="4421088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 sz="1800">
                <a:latin typeface="Source Sans Pro Semibold" pitchFamily="34" charset="0"/>
              </a:defRPr>
            </a:lvl1pPr>
            <a:lvl2pPr marL="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latin typeface="Source Sans Pro" pitchFamily="34" charset="0"/>
              </a:defRPr>
            </a:lvl2pPr>
            <a:lvl3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600">
                <a:latin typeface="Source Sans Pro" pitchFamily="34" charset="0"/>
              </a:defRPr>
            </a:lvl3pPr>
            <a:lvl4pPr marL="360000" indent="-216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Tx/>
              <a:buBlip>
                <a:blip r:embed="rId3"/>
              </a:buBlip>
              <a:defRPr sz="1600">
                <a:latin typeface="Source Sans Pro" pitchFamily="34" charset="0"/>
              </a:defRPr>
            </a:lvl4pPr>
            <a:lvl5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5000"/>
              <a:buFont typeface="+mj-lt"/>
              <a:buAutoNum type="arabicPeriod"/>
              <a:defRPr sz="1600">
                <a:latin typeface="Source Sans Pro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952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OpenKonsequenz_Folienmaster_PPT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476672"/>
            <a:ext cx="8780020" cy="734268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9474" y="1744216"/>
            <a:ext cx="8780020" cy="103671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 sz="1800">
                <a:latin typeface="Source Sans Pro Semibold" pitchFamily="34" charset="0"/>
              </a:defRPr>
            </a:lvl1pPr>
            <a:lvl2pPr marL="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latin typeface="Source Sans Pro" pitchFamily="34" charset="0"/>
              </a:defRPr>
            </a:lvl2pPr>
            <a:lvl3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600">
                <a:latin typeface="Source Sans Pro" pitchFamily="34" charset="0"/>
              </a:defRPr>
            </a:lvl3pPr>
            <a:lvl4pPr marL="360000" indent="-216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Tx/>
              <a:buBlip>
                <a:blip r:embed="rId3"/>
              </a:buBlip>
              <a:defRPr sz="1600">
                <a:latin typeface="Source Sans Pro" pitchFamily="34" charset="0"/>
              </a:defRPr>
            </a:lvl4pPr>
            <a:lvl5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5000"/>
              <a:buFont typeface="+mj-lt"/>
              <a:buAutoNum type="arabicPeriod"/>
              <a:defRPr sz="1600">
                <a:latin typeface="Source Sans Pro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507009" y="2905848"/>
            <a:ext cx="4446000" cy="324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Diagrammplatzhalter 10"/>
          <p:cNvSpPr>
            <a:spLocks noGrp="1"/>
          </p:cNvSpPr>
          <p:nvPr>
            <p:ph type="chart" sz="quarter" idx="14"/>
          </p:nvPr>
        </p:nvSpPr>
        <p:spPr>
          <a:xfrm>
            <a:off x="5031511" y="2905848"/>
            <a:ext cx="4446000" cy="3240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7032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OpenKonsequenz_Folie_PPT_nur_Logo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2780928"/>
            <a:ext cx="8780020" cy="51824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9474" y="3544416"/>
            <a:ext cx="8780020" cy="247687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 sz="1800">
                <a:latin typeface="Source Sans Pro Semibold" pitchFamily="34" charset="0"/>
              </a:defRPr>
            </a:lvl1pPr>
            <a:lvl2pPr marL="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latin typeface="Source Sans Pro" pitchFamily="34" charset="0"/>
              </a:defRPr>
            </a:lvl2pPr>
            <a:lvl3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600">
                <a:latin typeface="Source Sans Pro" pitchFamily="34" charset="0"/>
              </a:defRPr>
            </a:lvl3pPr>
            <a:lvl4pPr marL="360000" indent="-216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Tx/>
              <a:buBlip>
                <a:blip r:embed="rId3"/>
              </a:buBlip>
              <a:defRPr sz="1600">
                <a:latin typeface="Source Sans Pro" pitchFamily="34" charset="0"/>
              </a:defRPr>
            </a:lvl4pPr>
            <a:lvl5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5000"/>
              <a:buFont typeface="+mj-lt"/>
              <a:buAutoNum type="arabicPeriod"/>
              <a:defRPr sz="1600">
                <a:latin typeface="Source Sans Pro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		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Grafik 9" descr="Verlaufsstreifen_einzeln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2545283"/>
            <a:ext cx="9906000" cy="59436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906000" cy="2545856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7156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OpenKonsequenz_Folie_PPT_nur_Logo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5448966"/>
            <a:ext cx="8780020" cy="518244"/>
          </a:xfrm>
        </p:spPr>
        <p:txBody>
          <a:bodyPr anchor="t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Grafik 9" descr="Verlaufsstreifen_einzeln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5207771"/>
            <a:ext cx="9906000" cy="59436"/>
          </a:xfrm>
          <a:prstGeom prst="rect">
            <a:avLst/>
          </a:prstGeom>
        </p:spPr>
      </p:pic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906000" cy="5204812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0185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OpenKonsequenz_Titelmaster_PPT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16213" y="4325349"/>
            <a:ext cx="8814979" cy="432048"/>
          </a:xfrm>
        </p:spPr>
        <p:txBody>
          <a:bodyPr lIns="0" tIns="0" rIns="0" bIns="0" anchor="t" anchorCtr="0">
            <a:noAutofit/>
          </a:bodyPr>
          <a:lstStyle>
            <a:lvl1pPr algn="l">
              <a:defRPr sz="3600">
                <a:solidFill>
                  <a:schemeClr val="tx2"/>
                </a:solidFill>
                <a:latin typeface="Source Sans Pro Light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16213" y="4905735"/>
            <a:ext cx="8394475" cy="64807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>
                <a:solidFill>
                  <a:schemeClr val="bg1">
                    <a:lumMod val="50000"/>
                  </a:schemeClr>
                </a:solidFill>
                <a:latin typeface="Source Sans Pro Light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6" name="Datumsplatzhalter 15"/>
          <p:cNvSpPr>
            <a:spLocks noGrp="1"/>
          </p:cNvSpPr>
          <p:nvPr>
            <p:ph type="dt" sz="half" idx="10"/>
          </p:nvPr>
        </p:nvSpPr>
        <p:spPr>
          <a:xfrm>
            <a:off x="616783" y="6356351"/>
            <a:ext cx="1293879" cy="365125"/>
          </a:xfrm>
        </p:spPr>
        <p:txBody>
          <a:bodyPr lIns="0" tIns="0" rIns="0" bIns="0" anchor="t" anchorCtr="0"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350090D1-D07C-4CDC-8E8F-0C989AB94F37}" type="datetime4">
              <a:rPr lang="de-DE" smtClean="0"/>
              <a:pPr/>
              <a:t>9. Februar 2015</a:t>
            </a:fld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/>
        </p:nvSpPr>
        <p:spPr>
          <a:xfrm>
            <a:off x="2612740" y="6356351"/>
            <a:ext cx="2311400" cy="365125"/>
          </a:xfrm>
        </p:spPr>
        <p:txBody>
          <a:bodyPr lIns="0" tIns="0" rIns="0" bIns="0" anchor="t" anchorCtr="0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A2CC9EF-ACBB-4C69-94F7-0B7F0AB4756F}" type="slidenum">
              <a:rPr lang="de-DE" sz="1200" smtClean="0">
                <a:solidFill>
                  <a:srgbClr val="898989"/>
                </a:solidFill>
                <a:latin typeface="Source Sans Pro Ligh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sz="1200" dirty="0">
              <a:solidFill>
                <a:srgbClr val="898989"/>
              </a:solidFill>
              <a:latin typeface="Source Sans Pro Light"/>
            </a:endParaRPr>
          </a:p>
        </p:txBody>
      </p:sp>
      <p:sp>
        <p:nvSpPr>
          <p:cNvPr id="18" name="Fußzeilenplatzhalter 17"/>
          <p:cNvSpPr>
            <a:spLocks noGrp="1"/>
          </p:cNvSpPr>
          <p:nvPr/>
        </p:nvSpPr>
        <p:spPr>
          <a:xfrm>
            <a:off x="1910662" y="6356351"/>
            <a:ext cx="624069" cy="365125"/>
          </a:xfrm>
        </p:spPr>
        <p:txBody>
          <a:bodyPr lIns="0" tIns="0" rIns="0" bIns="0" anchor="t" anchorCtr="0"/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898989"/>
                </a:solidFill>
                <a:latin typeface="Source Sans Pro Light"/>
              </a:rPr>
              <a:t>Seite</a:t>
            </a:r>
            <a:endParaRPr lang="de-DE" sz="1200" dirty="0">
              <a:solidFill>
                <a:srgbClr val="898989"/>
              </a:solidFill>
              <a:latin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3593435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OpenKonsequenz_Folienmaster_PPT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476672"/>
            <a:ext cx="8780020" cy="734268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9474" y="1744216"/>
            <a:ext cx="8780020" cy="4421088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 sz="1800">
                <a:latin typeface="Source Sans Pro Semibold" pitchFamily="34" charset="0"/>
              </a:defRPr>
            </a:lvl1pPr>
            <a:lvl2pPr marL="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latin typeface="Source Sans Pro" pitchFamily="34" charset="0"/>
              </a:defRPr>
            </a:lvl2pPr>
            <a:lvl3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600">
                <a:latin typeface="Source Sans Pro" pitchFamily="34" charset="0"/>
              </a:defRPr>
            </a:lvl3pPr>
            <a:lvl4pPr marL="360000" indent="-216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Tx/>
              <a:buBlip>
                <a:blip r:embed="rId3"/>
              </a:buBlip>
              <a:defRPr sz="1600">
                <a:latin typeface="Source Sans Pro" pitchFamily="34" charset="0"/>
              </a:defRPr>
            </a:lvl4pPr>
            <a:lvl5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5000"/>
              <a:buFont typeface="+mj-lt"/>
              <a:buAutoNum type="arabicPeriod"/>
              <a:defRPr sz="1600">
                <a:latin typeface="Source Sans Pro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2573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 descr="OpenKonsequenz_Folienmaster_PPT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476672"/>
            <a:ext cx="8780020" cy="734268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9474" y="1744216"/>
            <a:ext cx="8780020" cy="103671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 sz="1800">
                <a:latin typeface="Source Sans Pro Semibold" pitchFamily="34" charset="0"/>
              </a:defRPr>
            </a:lvl1pPr>
            <a:lvl2pPr marL="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latin typeface="Source Sans Pro" pitchFamily="34" charset="0"/>
              </a:defRPr>
            </a:lvl2pPr>
            <a:lvl3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600">
                <a:latin typeface="Source Sans Pro" pitchFamily="34" charset="0"/>
              </a:defRPr>
            </a:lvl3pPr>
            <a:lvl4pPr marL="360000" indent="-216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Tx/>
              <a:buBlip>
                <a:blip r:embed="rId3"/>
              </a:buBlip>
              <a:defRPr sz="1600">
                <a:latin typeface="Source Sans Pro" pitchFamily="34" charset="0"/>
              </a:defRPr>
            </a:lvl4pPr>
            <a:lvl5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5000"/>
              <a:buFont typeface="+mj-lt"/>
              <a:buAutoNum type="arabicPeriod"/>
              <a:defRPr sz="1600">
                <a:latin typeface="Source Sans Pro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Diagrammplatzhalter 8"/>
          <p:cNvSpPr>
            <a:spLocks noGrp="1"/>
          </p:cNvSpPr>
          <p:nvPr>
            <p:ph type="chart" sz="quarter" idx="13"/>
          </p:nvPr>
        </p:nvSpPr>
        <p:spPr>
          <a:xfrm>
            <a:off x="507009" y="2905848"/>
            <a:ext cx="4446000" cy="32400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1" name="Diagrammplatzhalter 10"/>
          <p:cNvSpPr>
            <a:spLocks noGrp="1"/>
          </p:cNvSpPr>
          <p:nvPr>
            <p:ph type="chart" sz="quarter" idx="14"/>
          </p:nvPr>
        </p:nvSpPr>
        <p:spPr>
          <a:xfrm>
            <a:off x="5031511" y="2905848"/>
            <a:ext cx="4446000" cy="3240000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62492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OpenKonsequenz_Folie_PPT_nur_Logo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9474" y="2780928"/>
            <a:ext cx="8780020" cy="518244"/>
          </a:xfrm>
        </p:spPr>
        <p:txBody>
          <a:bodyPr anchor="b" anchorCtr="0">
            <a:normAutofit/>
          </a:bodyPr>
          <a:lstStyle>
            <a:lvl1pPr>
              <a:defRPr sz="26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19474" y="3544416"/>
            <a:ext cx="8780020" cy="2476872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buFontTx/>
              <a:buNone/>
              <a:defRPr sz="1800">
                <a:latin typeface="Source Sans Pro Semibold" pitchFamily="34" charset="0"/>
              </a:defRPr>
            </a:lvl1pPr>
            <a:lvl2pPr marL="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600">
                <a:latin typeface="Source Sans Pro" pitchFamily="34" charset="0"/>
              </a:defRPr>
            </a:lvl2pPr>
            <a:lvl3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Arial" pitchFamily="34" charset="0"/>
              <a:buChar char="•"/>
              <a:defRPr sz="1600">
                <a:latin typeface="Source Sans Pro" pitchFamily="34" charset="0"/>
              </a:defRPr>
            </a:lvl3pPr>
            <a:lvl4pPr marL="360000" indent="-216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Tx/>
              <a:buBlip>
                <a:blip r:embed="rId3"/>
              </a:buBlip>
              <a:defRPr sz="1600">
                <a:latin typeface="Source Sans Pro" pitchFamily="34" charset="0"/>
              </a:defRPr>
            </a:lvl4pPr>
            <a:lvl5pPr marL="360000" indent="-180000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5000"/>
              <a:buFont typeface="+mj-lt"/>
              <a:buAutoNum type="arabicPeriod"/>
              <a:defRPr sz="1600">
                <a:latin typeface="Source Sans Pro" pitchFamily="34" charset="0"/>
              </a:defRPr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		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Grafik 9" descr="Verlaufsstreifen_einzeln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2545283"/>
            <a:ext cx="9906000" cy="59436"/>
          </a:xfrm>
          <a:prstGeom prst="rect">
            <a:avLst/>
          </a:prstGeom>
        </p:spPr>
      </p:pic>
      <p:sp>
        <p:nvSpPr>
          <p:cNvPr id="13" name="Bildplatzhalt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906000" cy="2545856"/>
          </a:xfr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8185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19474" y="620688"/>
            <a:ext cx="8915400" cy="7969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9474" y="1600205"/>
            <a:ext cx="89154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3696" y="6356355"/>
            <a:ext cx="1286969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914334A-00FD-42B1-B8D2-642383AF4BCE}" type="datetime4">
              <a:rPr lang="de-DE" smtClean="0">
                <a:solidFill>
                  <a:prstClr val="black">
                    <a:tint val="75000"/>
                  </a:prstClr>
                </a:solidFill>
                <a:latin typeface="Source Sans Pro Ligh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  <a:latin typeface="Source Sans Pro Light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10662" y="6356355"/>
            <a:ext cx="624069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dirty="0" smtClean="0">
                <a:solidFill>
                  <a:prstClr val="black">
                    <a:tint val="75000"/>
                  </a:prstClr>
                </a:solidFill>
                <a:latin typeface="Source Sans Pro Light"/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  <a:latin typeface="Source Sans Pro Ligh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612740" y="6356355"/>
            <a:ext cx="23114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  <a:latin typeface="Source Sans Pro Ligh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  <a:latin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3646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19474" y="620688"/>
            <a:ext cx="8915400" cy="79695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19474" y="1600201"/>
            <a:ext cx="89154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23694" y="6356351"/>
            <a:ext cx="1286969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914334A-00FD-42B1-B8D2-642383AF4BCE}" type="datetime4">
              <a:rPr lang="de-DE" smtClean="0">
                <a:solidFill>
                  <a:prstClr val="black">
                    <a:tint val="75000"/>
                  </a:prstClr>
                </a:solidFill>
                <a:latin typeface="Source Sans Pro Ligh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  <a:latin typeface="Source Sans Pro Light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910662" y="6356351"/>
            <a:ext cx="624069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dirty="0" smtClean="0">
                <a:solidFill>
                  <a:prstClr val="black">
                    <a:tint val="75000"/>
                  </a:prstClr>
                </a:solidFill>
                <a:latin typeface="Source Sans Pro Light"/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  <a:latin typeface="Source Sans Pro Ligh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612740" y="6356351"/>
            <a:ext cx="23114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  <a:latin typeface="Source Sans Pro Light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>
              <a:solidFill>
                <a:prstClr val="black">
                  <a:tint val="75000"/>
                </a:prstClr>
              </a:solidFill>
              <a:latin typeface="Source Sans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3936024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err="1" smtClean="0"/>
              <a:t>openKONSEQUENZ</a:t>
            </a:r>
            <a:endParaRPr lang="de-DE" dirty="0"/>
          </a:p>
        </p:txBody>
      </p:sp>
      <p:sp>
        <p:nvSpPr>
          <p:cNvPr id="11" name="Untertitel 10"/>
          <p:cNvSpPr>
            <a:spLocks noGrp="1"/>
          </p:cNvSpPr>
          <p:nvPr>
            <p:ph type="subTitle" idx="1"/>
          </p:nvPr>
        </p:nvSpPr>
        <p:spPr>
          <a:xfrm>
            <a:off x="616214" y="4905742"/>
            <a:ext cx="8394475" cy="539489"/>
          </a:xfrm>
        </p:spPr>
        <p:txBody>
          <a:bodyPr/>
          <a:lstStyle/>
          <a:p>
            <a:r>
              <a:rPr lang="de-DE" dirty="0" smtClean="0"/>
              <a:t>Kick-Off am 4. Februar 2015</a:t>
            </a:r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FAE3D-55B1-4D14-B276-A17617C3F72B}" type="datetime4">
              <a:rPr lang="de-DE" smtClean="0"/>
              <a:pPr/>
              <a:t>9. Februar 2015</a:t>
            </a:fld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625790" y="5555332"/>
            <a:ext cx="4951280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100" dirty="0" smtClean="0">
                <a:solidFill>
                  <a:prstClr val="white">
                    <a:lumMod val="50000"/>
                  </a:prstClr>
                </a:solidFill>
                <a:latin typeface="Source Sans Pro" pitchFamily="34" charset="0"/>
              </a:rPr>
              <a:t>Peter Herdt, Frank Rose, Michael Müller, Gerhard Regenbogen, Matthias Rohr, Hans-Peter Hamann, Stefan Brockmann, Jan Krüger</a:t>
            </a:r>
            <a:endParaRPr lang="de-DE" sz="1100" dirty="0">
              <a:solidFill>
                <a:prstClr val="white">
                  <a:lumMod val="50000"/>
                </a:prstClr>
              </a:solidFill>
              <a:latin typeface="Source Sans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41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Vorschlag: Inhalte Sprint 1 (Sprint 1 </a:t>
            </a:r>
            <a:r>
              <a:rPr lang="de-DE" dirty="0" err="1" smtClean="0"/>
              <a:t>Backlog</a:t>
            </a:r>
            <a:r>
              <a:rPr lang="de-DE" dirty="0" smtClean="0"/>
              <a:t>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60512" y="1628800"/>
            <a:ext cx="7912100" cy="4406900"/>
          </a:xfrm>
        </p:spPr>
        <p:txBody>
          <a:bodyPr/>
          <a:lstStyle/>
          <a:p>
            <a:r>
              <a:rPr lang="de-DE" sz="1600" b="1" dirty="0">
                <a:solidFill>
                  <a:schemeClr val="tx2"/>
                </a:solidFill>
                <a:latin typeface="Source Sans Pro" pitchFamily="34" charset="0"/>
              </a:rPr>
              <a:t>Analyse Workshop</a:t>
            </a:r>
          </a:p>
          <a:p>
            <a:pPr lvl="2"/>
            <a:r>
              <a:rPr lang="de-DE" dirty="0" smtClean="0"/>
              <a:t>Abstimmung der fachlichen Anforderungen (</a:t>
            </a:r>
            <a:r>
              <a:rPr lang="de-DE" dirty="0" err="1" smtClean="0"/>
              <a:t>Eisman</a:t>
            </a:r>
            <a:r>
              <a:rPr lang="de-DE" dirty="0"/>
              <a:t> </a:t>
            </a:r>
            <a:r>
              <a:rPr lang="de-DE" dirty="0" smtClean="0"/>
              <a:t>u. Netzzustand)</a:t>
            </a:r>
          </a:p>
          <a:p>
            <a:pPr lvl="2"/>
            <a:r>
              <a:rPr lang="de-DE" dirty="0" smtClean="0"/>
              <a:t>Erstellung bzw. Verfeinerung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Backlog</a:t>
            </a:r>
            <a:endParaRPr lang="de-DE" dirty="0" smtClean="0"/>
          </a:p>
          <a:p>
            <a:pPr lvl="2"/>
            <a:r>
              <a:rPr lang="de-DE" dirty="0" smtClean="0"/>
              <a:t>Anforderungen CIM</a:t>
            </a:r>
          </a:p>
          <a:p>
            <a:pPr marL="0" lvl="1" indent="0">
              <a:buNone/>
            </a:pPr>
            <a:r>
              <a:rPr lang="de-DE" b="1" dirty="0">
                <a:solidFill>
                  <a:schemeClr val="tx2"/>
                </a:solidFill>
              </a:rPr>
              <a:t>Abstimmung technische </a:t>
            </a:r>
            <a:r>
              <a:rPr lang="de-DE" b="1" dirty="0" smtClean="0">
                <a:solidFill>
                  <a:schemeClr val="tx2"/>
                </a:solidFill>
              </a:rPr>
              <a:t>Komponenten</a:t>
            </a:r>
          </a:p>
          <a:p>
            <a:pPr lvl="2"/>
            <a:r>
              <a:rPr lang="de-DE" dirty="0" err="1"/>
              <a:t>Application</a:t>
            </a:r>
            <a:r>
              <a:rPr lang="de-DE" dirty="0"/>
              <a:t> Server, ESB, </a:t>
            </a:r>
            <a:r>
              <a:rPr lang="de-DE" dirty="0" smtClean="0"/>
              <a:t>Datenbank, </a:t>
            </a:r>
            <a:r>
              <a:rPr lang="de-DE" dirty="0"/>
              <a:t>etc.</a:t>
            </a:r>
          </a:p>
          <a:p>
            <a:pPr marL="0" lvl="1" indent="0">
              <a:buNone/>
            </a:pPr>
            <a:r>
              <a:rPr lang="de-DE" b="1" dirty="0" smtClean="0">
                <a:solidFill>
                  <a:schemeClr val="tx2"/>
                </a:solidFill>
              </a:rPr>
              <a:t>Aufsetzen Entwicklungsumgebung</a:t>
            </a:r>
          </a:p>
          <a:p>
            <a:pPr lvl="2"/>
            <a:r>
              <a:rPr lang="de-DE" dirty="0"/>
              <a:t>lokale Implementierung</a:t>
            </a:r>
          </a:p>
          <a:p>
            <a:pPr lvl="2"/>
            <a:r>
              <a:rPr lang="de-DE" dirty="0"/>
              <a:t>Dokumentation</a:t>
            </a:r>
          </a:p>
          <a:p>
            <a:pPr marL="0" lvl="1" indent="0">
              <a:buNone/>
            </a:pPr>
            <a:r>
              <a:rPr lang="de-DE" b="1" dirty="0" smtClean="0">
                <a:solidFill>
                  <a:schemeClr val="tx2"/>
                </a:solidFill>
              </a:rPr>
              <a:t>Implementierung Durchstich lokale Entwicklungsumgebung</a:t>
            </a:r>
          </a:p>
          <a:p>
            <a:pPr lvl="2"/>
            <a:r>
              <a:rPr lang="de-DE" dirty="0"/>
              <a:t>„Zusammenfügen der Architektur“</a:t>
            </a:r>
          </a:p>
          <a:p>
            <a:pPr lvl="2"/>
            <a:r>
              <a:rPr lang="de-DE" dirty="0"/>
              <a:t>Implementierung über alle Komponenten der Architektur</a:t>
            </a:r>
          </a:p>
        </p:txBody>
      </p:sp>
    </p:spTree>
    <p:extLst>
      <p:ext uri="{BB962C8B-B14F-4D97-AF65-F5344CB8AC3E}">
        <p14:creationId xmlns:p14="http://schemas.microsoft.com/office/powerpoint/2010/main" val="26678022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Funktionsumfang - Fachliche Einordn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Grafik 6"/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53015" y="1780699"/>
            <a:ext cx="6330726" cy="3888432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526874" y="5693186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de-DE" sz="1000" dirty="0">
                <a:solidFill>
                  <a:srgbClr val="000000"/>
                </a:solidFill>
              </a:rPr>
              <a:t>"Fallunterscheidung für Handlungsanweisungen bei einem Netzengpass" (Quelle: Ausschreibungsdokument openKONSEQUENZ Nr. 01)</a:t>
            </a:r>
          </a:p>
        </p:txBody>
      </p:sp>
      <p:sp>
        <p:nvSpPr>
          <p:cNvPr id="9" name="Rechteck 8"/>
          <p:cNvSpPr/>
          <p:nvPr/>
        </p:nvSpPr>
        <p:spPr>
          <a:xfrm>
            <a:off x="4799616" y="1780698"/>
            <a:ext cx="2110297" cy="2152192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rgbClr val="000000"/>
              </a:solidFill>
            </a:endParaRPr>
          </a:p>
        </p:txBody>
      </p:sp>
      <p:sp>
        <p:nvSpPr>
          <p:cNvPr id="10" name="Pfeil nach rechts 9"/>
          <p:cNvSpPr/>
          <p:nvPr/>
        </p:nvSpPr>
        <p:spPr>
          <a:xfrm>
            <a:off x="7092235" y="2632353"/>
            <a:ext cx="360040" cy="360040"/>
          </a:xfrm>
          <a:prstGeom prst="rightArrow">
            <a:avLst/>
          </a:prstGeom>
          <a:solidFill>
            <a:schemeClr val="tx2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 smtClean="0">
              <a:solidFill>
                <a:srgbClr val="000000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7452275" y="2620440"/>
            <a:ext cx="17491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000000"/>
                </a:solidFill>
              </a:rPr>
              <a:t>Erster Funktion</a:t>
            </a:r>
          </a:p>
          <a:p>
            <a:r>
              <a:rPr lang="de-DE" dirty="0" smtClean="0">
                <a:solidFill>
                  <a:srgbClr val="000000"/>
                </a:solidFill>
              </a:rPr>
              <a:t>„Eisman-SSM“</a:t>
            </a:r>
          </a:p>
        </p:txBody>
      </p:sp>
    </p:spTree>
    <p:extLst>
      <p:ext uri="{BB962C8B-B14F-4D97-AF65-F5344CB8AC3E}">
        <p14:creationId xmlns:p14="http://schemas.microsoft.com/office/powerpoint/2010/main" val="22217416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ichtigste Quellen für regulatorischen Rahm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platzhalter 2"/>
          <p:cNvSpPr txBox="1">
            <a:spLocks/>
          </p:cNvSpPr>
          <p:nvPr/>
        </p:nvSpPr>
        <p:spPr>
          <a:xfrm>
            <a:off x="568388" y="1774443"/>
            <a:ext cx="7920037" cy="439086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EG 2014</a:t>
            </a:r>
          </a:p>
          <a:p>
            <a:pPr marL="554038" lvl="1" indent="-285750">
              <a:buFont typeface="Arial" pitchFamily="34" charset="0"/>
              <a:buChar char="•"/>
            </a:pPr>
            <a:r>
              <a:rPr lang="de-DE" dirty="0" smtClean="0"/>
              <a:t>Vorrang für EEG-Strom-Abnahme, unverzügliche Netzausbaupflicht, Absenkung zur Vermeidung von Engpässen, Ankündigung, Informieren von Betroffenen, Nachweispflicht, Entschädigungspflichten</a:t>
            </a:r>
          </a:p>
          <a:p>
            <a:pPr marL="554038" lvl="1" indent="-285750">
              <a:buFont typeface="Arial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smtClean="0"/>
              <a:t>EnWG </a:t>
            </a:r>
          </a:p>
          <a:p>
            <a:pPr marL="554038" lvl="1" indent="-285750">
              <a:buFont typeface="Arial" pitchFamily="34" charset="0"/>
              <a:buChar char="•"/>
            </a:pPr>
            <a:r>
              <a:rPr lang="de-DE" dirty="0" smtClean="0"/>
              <a:t>§13 Systemverantwortung u. §14</a:t>
            </a:r>
          </a:p>
          <a:p>
            <a:pPr marL="268288" lvl="1"/>
            <a:endParaRPr lang="de-DE" dirty="0" smtClean="0"/>
          </a:p>
          <a:p>
            <a:pPr marL="285750" indent="-285750">
              <a:buFont typeface="Arial" pitchFamily="34" charset="0"/>
              <a:buChar char="•"/>
            </a:pPr>
            <a:r>
              <a:rPr lang="de-DE" dirty="0" err="1" smtClean="0"/>
              <a:t>BNetzA</a:t>
            </a:r>
            <a:r>
              <a:rPr lang="de-DE" dirty="0" smtClean="0"/>
              <a:t>, Leitfaden zum EEG-Einspeisemanagement</a:t>
            </a:r>
          </a:p>
          <a:p>
            <a:pPr marL="554038" lvl="1" indent="-285750">
              <a:buFont typeface="Arial" pitchFamily="34" charset="0"/>
              <a:buChar char="•"/>
            </a:pPr>
            <a:r>
              <a:rPr lang="de-DE" dirty="0" smtClean="0"/>
              <a:t>Abschaltrangfolge, Berechnung von Entschädigungszahlungen und Auswirkungen auf die Netzentgelte,“ Version 2.1 &amp; Version 1.0</a:t>
            </a:r>
          </a:p>
        </p:txBody>
      </p:sp>
    </p:spTree>
    <p:extLst>
      <p:ext uri="{BB962C8B-B14F-4D97-AF65-F5344CB8AC3E}">
        <p14:creationId xmlns:p14="http://schemas.microsoft.com/office/powerpoint/2010/main" val="120432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Maßnahmen/Ursachen. Quelle: </a:t>
            </a:r>
            <a:r>
              <a:rPr lang="de-DE" dirty="0"/>
              <a:t>BDEW und VKU, 12.10.2012, „Praxis-Leitfaden für unterstützende Maßnahmen von Stromnetzbetreibern</a:t>
            </a:r>
            <a:r>
              <a:rPr lang="de-DE" dirty="0" smtClean="0"/>
              <a:t>“ (</a:t>
            </a:r>
            <a:r>
              <a:rPr lang="de-DE" dirty="0"/>
              <a:t>Kontext </a:t>
            </a:r>
            <a:r>
              <a:rPr lang="de-DE" dirty="0" smtClean="0"/>
              <a:t>BDEW-Kaskade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3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584" y="2018430"/>
            <a:ext cx="5933431" cy="4094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hteck 7"/>
          <p:cNvSpPr/>
          <p:nvPr/>
        </p:nvSpPr>
        <p:spPr>
          <a:xfrm>
            <a:off x="578768" y="1484784"/>
            <a:ext cx="67504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800" dirty="0" smtClean="0">
                <a:solidFill>
                  <a:srgbClr val="000000"/>
                </a:solidFill>
                <a:latin typeface="Arial"/>
              </a:rPr>
              <a:t>Quelle: 12.10.2012, BDEW und VKU, http</a:t>
            </a:r>
            <a:r>
              <a:rPr lang="de-DE" sz="800" dirty="0">
                <a:solidFill>
                  <a:srgbClr val="000000"/>
                </a:solidFill>
                <a:latin typeface="Arial"/>
              </a:rPr>
              <a:t>://www.bdew.de/internet.nsf/id/20121012-bdew-vku-leitfaden-praxis-leitfaden-fuer-unterstuetzende-massnahmen-von-stromnetzbetreiber/$file/20121012_BDEW-VKU%20Praxis-Leitfaden_fuer_unterstuetzende_Ma%C3%9Fnahmen_von_Stromnetzbetreibern.pdf</a:t>
            </a:r>
          </a:p>
        </p:txBody>
      </p:sp>
    </p:spTree>
    <p:extLst>
      <p:ext uri="{BB962C8B-B14F-4D97-AF65-F5344CB8AC3E}">
        <p14:creationId xmlns:p14="http://schemas.microsoft.com/office/powerpoint/2010/main" val="919982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Umfang der 1. Entwicklungsstufe</a:t>
            </a:r>
            <a:br>
              <a:rPr lang="de-DE" dirty="0"/>
            </a:br>
            <a:r>
              <a:rPr lang="de-DE" dirty="0"/>
              <a:t>(blau eingefärbt = Teil der 1. </a:t>
            </a:r>
            <a:r>
              <a:rPr lang="de-DE" dirty="0" err="1"/>
              <a:t>Entw.stufe</a:t>
            </a:r>
            <a:r>
              <a:rPr lang="de-DE" dirty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080209" y="4366273"/>
            <a:ext cx="1584176" cy="435071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Adapter BDH</a:t>
            </a:r>
            <a:br>
              <a:rPr lang="de-DE" sz="1200" kern="0" dirty="0" smtClean="0">
                <a:solidFill>
                  <a:srgbClr val="000000"/>
                </a:solidFill>
                <a:latin typeface="Arial"/>
              </a:rPr>
            </a:b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(z.B. für SAP)</a:t>
            </a:r>
          </a:p>
        </p:txBody>
      </p:sp>
      <p:sp>
        <p:nvSpPr>
          <p:cNvPr id="9" name="Rechteck 8"/>
          <p:cNvSpPr/>
          <p:nvPr/>
        </p:nvSpPr>
        <p:spPr>
          <a:xfrm>
            <a:off x="2813006" y="2825378"/>
            <a:ext cx="1923357" cy="274269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…</a:t>
            </a:r>
          </a:p>
        </p:txBody>
      </p:sp>
      <p:sp>
        <p:nvSpPr>
          <p:cNvPr id="10" name="Rechteck 9"/>
          <p:cNvSpPr/>
          <p:nvPr/>
        </p:nvSpPr>
        <p:spPr>
          <a:xfrm>
            <a:off x="2813008" y="3105929"/>
            <a:ext cx="1923356" cy="1380514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872634" y="3947629"/>
            <a:ext cx="1584176" cy="1497595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b="1" kern="0" smtClean="0">
              <a:solidFill>
                <a:srgbClr val="004894"/>
              </a:solidFill>
              <a:latin typeface="Arial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773835" y="4726885"/>
            <a:ext cx="18001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000000"/>
                </a:solidFill>
                <a:latin typeface="Arial"/>
              </a:rPr>
              <a:t>Eisman-SSM-APP </a:t>
            </a:r>
            <a:br>
              <a:rPr lang="de-DE" sz="1400" b="1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für </a:t>
            </a:r>
            <a:r>
              <a:rPr lang="de-DE" sz="1100" dirty="0">
                <a:solidFill>
                  <a:srgbClr val="000000"/>
                </a:solidFill>
                <a:latin typeface="Arial"/>
              </a:rPr>
              <a:t>EnWG §13(2)</a:t>
            </a:r>
          </a:p>
          <a:p>
            <a:pPr algn="ctr"/>
            <a:r>
              <a:rPr lang="de-DE" sz="1100" dirty="0">
                <a:solidFill>
                  <a:srgbClr val="000000"/>
                </a:solidFill>
                <a:latin typeface="Arial"/>
              </a:rPr>
              <a:t>„Fall 1“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872634" y="5661248"/>
            <a:ext cx="1584176" cy="288032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Eisman-App</a:t>
            </a:r>
          </a:p>
        </p:txBody>
      </p:sp>
      <p:cxnSp>
        <p:nvCxnSpPr>
          <p:cNvPr id="14" name="Gerade Verbindung mit Pfeil 13"/>
          <p:cNvCxnSpPr/>
          <p:nvPr/>
        </p:nvCxnSpPr>
        <p:spPr>
          <a:xfrm flipV="1">
            <a:off x="559900" y="2204864"/>
            <a:ext cx="0" cy="3455772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tailEnd type="arrow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15" name="Textfeld 14"/>
          <p:cNvSpPr txBox="1"/>
          <p:nvPr/>
        </p:nvSpPr>
        <p:spPr>
          <a:xfrm>
            <a:off x="442810" y="1681644"/>
            <a:ext cx="1685011" cy="52322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>
              <a:defRPr sz="1400">
                <a:solidFill>
                  <a:schemeClr val="tx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kern="0" dirty="0">
                <a:solidFill>
                  <a:srgbClr val="000000"/>
                </a:solidFill>
              </a:rPr>
              <a:t>Mögliche </a:t>
            </a:r>
            <a:br>
              <a:rPr lang="de-DE" kern="0" dirty="0">
                <a:solidFill>
                  <a:srgbClr val="000000"/>
                </a:solidFill>
              </a:rPr>
            </a:br>
            <a:r>
              <a:rPr lang="de-DE" kern="0" dirty="0" smtClean="0">
                <a:solidFill>
                  <a:srgbClr val="000000"/>
                </a:solidFill>
              </a:rPr>
              <a:t>Ausbaustufen</a:t>
            </a:r>
            <a:endParaRPr lang="de-DE" kern="0" dirty="0">
              <a:solidFill>
                <a:srgbClr val="000000"/>
              </a:solidFill>
            </a:endParaRPr>
          </a:p>
        </p:txBody>
      </p:sp>
      <p:sp>
        <p:nvSpPr>
          <p:cNvPr id="16" name="Abgerundetes Rechteck 15"/>
          <p:cNvSpPr/>
          <p:nvPr/>
        </p:nvSpPr>
        <p:spPr>
          <a:xfrm>
            <a:off x="6736333" y="4506299"/>
            <a:ext cx="2016223" cy="1152127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000000"/>
                </a:solidFill>
                <a:latin typeface="Arial"/>
              </a:rPr>
              <a:t>Weitere Funktionen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000000"/>
                </a:solidFill>
                <a:latin typeface="Arial"/>
              </a:rPr>
              <a:t>in Ausbaustufen auf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err="1" smtClean="0">
                <a:solidFill>
                  <a:srgbClr val="000000"/>
                </a:solidFill>
                <a:latin typeface="Arial"/>
              </a:rPr>
              <a:t>openKONSEQUENZ</a:t>
            </a:r>
            <a:r>
              <a:rPr lang="de-DE" sz="1400" kern="0" dirty="0" smtClean="0">
                <a:solidFill>
                  <a:srgbClr val="000000"/>
                </a:solidFill>
                <a:latin typeface="Arial"/>
              </a:rPr>
              <a:t>-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400" kern="0" dirty="0" smtClean="0">
                <a:solidFill>
                  <a:srgbClr val="000000"/>
                </a:solidFill>
                <a:latin typeface="Arial"/>
              </a:rPr>
              <a:t>Plattform</a:t>
            </a:r>
          </a:p>
        </p:txBody>
      </p:sp>
      <p:sp>
        <p:nvSpPr>
          <p:cNvPr id="17" name="Abgerundetes Rechteck 16"/>
          <p:cNvSpPr/>
          <p:nvPr/>
        </p:nvSpPr>
        <p:spPr>
          <a:xfrm>
            <a:off x="2703885" y="5661248"/>
            <a:ext cx="2160240" cy="288032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Netzzustandsbild-App</a:t>
            </a:r>
          </a:p>
        </p:txBody>
      </p:sp>
      <p:sp>
        <p:nvSpPr>
          <p:cNvPr id="18" name="Rechteck 17"/>
          <p:cNvSpPr/>
          <p:nvPr/>
        </p:nvSpPr>
        <p:spPr>
          <a:xfrm>
            <a:off x="4796210" y="5651376"/>
            <a:ext cx="215217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</a:rPr>
              <a:t>Integration &amp; Adapter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3076" y="2051279"/>
            <a:ext cx="1518762" cy="35667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 smtClean="0">
                <a:solidFill>
                  <a:srgbClr val="000000"/>
                </a:solidFill>
                <a:latin typeface="Arial"/>
              </a:rPr>
              <a:t>Ausbau / </a:t>
            </a:r>
            <a:br>
              <a:rPr lang="de-DE" sz="1100" kern="0" dirty="0" smtClean="0">
                <a:solidFill>
                  <a:srgbClr val="000000"/>
                </a:solidFill>
                <a:latin typeface="Arial"/>
              </a:rPr>
            </a:br>
            <a:r>
              <a:rPr lang="de-DE" sz="1100" kern="0" dirty="0" smtClean="0">
                <a:solidFill>
                  <a:srgbClr val="000000"/>
                </a:solidFill>
                <a:latin typeface="Arial"/>
              </a:rPr>
              <a:t>Weitere Stufen</a:t>
            </a:r>
          </a:p>
        </p:txBody>
      </p:sp>
      <p:sp>
        <p:nvSpPr>
          <p:cNvPr id="20" name="Rechteck 19"/>
          <p:cNvSpPr/>
          <p:nvPr/>
        </p:nvSpPr>
        <p:spPr>
          <a:xfrm>
            <a:off x="872634" y="5450172"/>
            <a:ext cx="1584176" cy="17638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b="1" kern="0" dirty="0" smtClean="0">
                <a:solidFill>
                  <a:srgbClr val="000000"/>
                </a:solidFill>
                <a:latin typeface="Arial"/>
              </a:rPr>
              <a:t>CIM-Schnittstellenschema</a:t>
            </a:r>
            <a:endParaRPr lang="de-DE" sz="700" b="1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2813007" y="5450172"/>
            <a:ext cx="1923357" cy="17638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b="1" kern="0" dirty="0" smtClean="0">
                <a:solidFill>
                  <a:srgbClr val="000000"/>
                </a:solidFill>
                <a:latin typeface="Arial"/>
              </a:rPr>
              <a:t>CIM-Schnittstellenschema</a:t>
            </a:r>
            <a:endParaRPr lang="de-DE" sz="700" b="1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872634" y="3258516"/>
            <a:ext cx="1584176" cy="674234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Erweiterung fü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100" kern="0" dirty="0" smtClean="0">
                <a:solidFill>
                  <a:srgbClr val="000000"/>
                </a:solidFill>
                <a:latin typeface="Arial"/>
              </a:rPr>
              <a:t>EEG-Eisman = „Fall 3“</a:t>
            </a:r>
            <a:endParaRPr lang="de-DE" sz="14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872634" y="2705938"/>
            <a:ext cx="1584176" cy="552375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Erweiterung fü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NSM = „Fall 2“</a:t>
            </a:r>
          </a:p>
        </p:txBody>
      </p:sp>
      <p:sp>
        <p:nvSpPr>
          <p:cNvPr id="24" name="Rechteck 23"/>
          <p:cNvSpPr/>
          <p:nvPr/>
        </p:nvSpPr>
        <p:spPr>
          <a:xfrm>
            <a:off x="872634" y="2429281"/>
            <a:ext cx="1584176" cy="281350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…</a:t>
            </a:r>
          </a:p>
        </p:txBody>
      </p:sp>
      <p:sp>
        <p:nvSpPr>
          <p:cNvPr id="25" name="Rechteck 24"/>
          <p:cNvSpPr/>
          <p:nvPr/>
        </p:nvSpPr>
        <p:spPr>
          <a:xfrm>
            <a:off x="2813008" y="4490638"/>
            <a:ext cx="1923356" cy="941932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b="1" kern="0" dirty="0" smtClean="0">
              <a:solidFill>
                <a:srgbClr val="004894"/>
              </a:solidFill>
              <a:latin typeface="Arial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2831597" y="4798893"/>
            <a:ext cx="1935054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400" b="1" dirty="0" smtClean="0">
                <a:solidFill>
                  <a:srgbClr val="000000"/>
                </a:solidFill>
                <a:latin typeface="Arial"/>
              </a:rPr>
              <a:t>Netzzustandsbild 1</a:t>
            </a:r>
          </a:p>
          <a:p>
            <a:pPr algn="ctr"/>
            <a:r>
              <a:rPr lang="de-DE" sz="1100" dirty="0" smtClean="0">
                <a:solidFill>
                  <a:srgbClr val="000000"/>
                </a:solidFill>
                <a:latin typeface="Arial"/>
              </a:rPr>
              <a:t>für </a:t>
            </a:r>
            <a:r>
              <a:rPr lang="de-DE" sz="1100" dirty="0">
                <a:solidFill>
                  <a:srgbClr val="000000"/>
                </a:solidFill>
                <a:latin typeface="Arial"/>
              </a:rPr>
              <a:t>EnWG §13(2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) „Fall </a:t>
            </a:r>
            <a:r>
              <a:rPr lang="de-DE" sz="1100" dirty="0">
                <a:solidFill>
                  <a:srgbClr val="000000"/>
                </a:solidFill>
                <a:latin typeface="Arial"/>
              </a:rPr>
              <a:t>1“</a:t>
            </a:r>
          </a:p>
        </p:txBody>
      </p:sp>
      <p:sp>
        <p:nvSpPr>
          <p:cNvPr id="27" name="Rechteck 26"/>
          <p:cNvSpPr/>
          <p:nvPr/>
        </p:nvSpPr>
        <p:spPr>
          <a:xfrm>
            <a:off x="3321384" y="3204107"/>
            <a:ext cx="1371448" cy="2987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dirty="0" smtClean="0">
                <a:solidFill>
                  <a:srgbClr val="000000"/>
                </a:solidFill>
                <a:latin typeface="Arial"/>
              </a:rPr>
              <a:t>Geoschematische</a:t>
            </a:r>
            <a:br>
              <a:rPr lang="de-DE" sz="800" kern="0" dirty="0" smtClean="0">
                <a:solidFill>
                  <a:srgbClr val="000000"/>
                </a:solidFill>
                <a:latin typeface="Arial"/>
              </a:rPr>
            </a:br>
            <a:r>
              <a:rPr lang="de-DE" sz="800" kern="0" dirty="0" smtClean="0">
                <a:solidFill>
                  <a:srgbClr val="000000"/>
                </a:solidFill>
                <a:latin typeface="Arial"/>
              </a:rPr>
              <a:t>Visualisierung</a:t>
            </a:r>
            <a:endParaRPr lang="de-DE" sz="7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056260" y="3555214"/>
            <a:ext cx="149391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200" dirty="0">
                <a:solidFill>
                  <a:srgbClr val="000000"/>
                </a:solidFill>
                <a:latin typeface="Arial"/>
              </a:rPr>
              <a:t>Netzzustandsbild 2 </a:t>
            </a:r>
          </a:p>
          <a:p>
            <a:pPr algn="ctr"/>
            <a:r>
              <a:rPr lang="de-DE" sz="1100" dirty="0" smtClean="0">
                <a:solidFill>
                  <a:srgbClr val="000000"/>
                </a:solidFill>
                <a:latin typeface="Arial"/>
              </a:rPr>
              <a:t>Bereit </a:t>
            </a:r>
            <a:r>
              <a:rPr lang="de-DE" sz="1100" dirty="0">
                <a:solidFill>
                  <a:srgbClr val="000000"/>
                </a:solidFill>
                <a:latin typeface="Arial"/>
              </a:rPr>
              <a:t>für </a:t>
            </a:r>
            <a:r>
              <a:rPr lang="de-DE" sz="1100" dirty="0" err="1" smtClean="0">
                <a:solidFill>
                  <a:srgbClr val="000000"/>
                </a:solidFill>
                <a:latin typeface="Arial"/>
              </a:rPr>
              <a:t>Lastman</a:t>
            </a:r>
            <a:r>
              <a:rPr lang="de-DE" sz="1100" dirty="0" smtClean="0">
                <a:solidFill>
                  <a:srgbClr val="000000"/>
                </a:solidFill>
                <a:latin typeface="Arial"/>
              </a:rPr>
              <a:t>., NSM „Fall 2“ und EEG-Eisman „Fall 3“</a:t>
            </a:r>
            <a:endParaRPr lang="de-DE" sz="11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" name="Rechteck 28"/>
          <p:cNvSpPr/>
          <p:nvPr/>
        </p:nvSpPr>
        <p:spPr>
          <a:xfrm>
            <a:off x="984103" y="4109151"/>
            <a:ext cx="1379664" cy="468484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b="1" kern="0" dirty="0" smtClean="0">
                <a:solidFill>
                  <a:srgbClr val="000000"/>
                </a:solidFill>
                <a:latin typeface="Arial"/>
              </a:rPr>
              <a:t>Eisman-SSM GUI</a:t>
            </a:r>
          </a:p>
        </p:txBody>
      </p:sp>
      <p:sp>
        <p:nvSpPr>
          <p:cNvPr id="30" name="Rechteck 29"/>
          <p:cNvSpPr/>
          <p:nvPr/>
        </p:nvSpPr>
        <p:spPr>
          <a:xfrm>
            <a:off x="3297335" y="4573574"/>
            <a:ext cx="1371448" cy="223578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dirty="0" err="1" smtClean="0">
                <a:solidFill>
                  <a:srgbClr val="000000"/>
                </a:solidFill>
                <a:latin typeface="Arial"/>
              </a:rPr>
              <a:t>TreeView</a:t>
            </a:r>
            <a:r>
              <a:rPr lang="de-DE" sz="800" kern="0" dirty="0" smtClean="0">
                <a:solidFill>
                  <a:srgbClr val="000000"/>
                </a:solidFill>
                <a:latin typeface="Arial"/>
              </a:rPr>
              <a:t> GUI</a:t>
            </a:r>
          </a:p>
        </p:txBody>
      </p:sp>
      <p:sp>
        <p:nvSpPr>
          <p:cNvPr id="31" name="Rechteck 30"/>
          <p:cNvSpPr/>
          <p:nvPr/>
        </p:nvSpPr>
        <p:spPr>
          <a:xfrm>
            <a:off x="7093076" y="2399556"/>
            <a:ext cx="1518762" cy="309364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1. Ausbaustufe</a:t>
            </a:r>
            <a:endParaRPr lang="de-DE" sz="800" kern="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5080209" y="4798893"/>
            <a:ext cx="1584176" cy="332665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kern="0" dirty="0">
                <a:solidFill>
                  <a:srgbClr val="000000"/>
                </a:solidFill>
                <a:latin typeface="Arial"/>
              </a:rPr>
              <a:t>Cache </a:t>
            </a: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DB (Stufe 1)</a:t>
            </a:r>
            <a:endParaRPr lang="de-DE" sz="1200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Rechteck 32"/>
          <p:cNvSpPr/>
          <p:nvPr/>
        </p:nvSpPr>
        <p:spPr>
          <a:xfrm>
            <a:off x="5080209" y="5122058"/>
            <a:ext cx="1584176" cy="539190"/>
          </a:xfrm>
          <a:prstGeom prst="rect">
            <a:avLst/>
          </a:prstGeom>
          <a:solidFill>
            <a:srgbClr val="004894">
              <a:lumMod val="40000"/>
              <a:lumOff val="60000"/>
            </a:srgbClr>
          </a:solidFill>
          <a:ln w="25400" cap="flat" cmpd="sng" algn="ctr">
            <a:solidFill>
              <a:srgbClr val="004894">
                <a:lumMod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kern="0" dirty="0">
                <a:solidFill>
                  <a:srgbClr val="000000"/>
                </a:solidFill>
                <a:latin typeface="Arial"/>
              </a:rPr>
              <a:t>CIM </a:t>
            </a: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ESB</a:t>
            </a:r>
            <a:br>
              <a:rPr lang="de-DE" sz="1200" kern="0" dirty="0" smtClean="0">
                <a:solidFill>
                  <a:srgbClr val="000000"/>
                </a:solidFill>
                <a:latin typeface="Arial"/>
              </a:rPr>
            </a:b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(Stufe 1)</a:t>
            </a:r>
            <a:endParaRPr lang="de-DE" sz="1200" kern="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4" name="Gerade Verbindung mit Pfeil 33"/>
          <p:cNvCxnSpPr/>
          <p:nvPr/>
        </p:nvCxnSpPr>
        <p:spPr>
          <a:xfrm>
            <a:off x="559900" y="5653128"/>
            <a:ext cx="7285553" cy="0"/>
          </a:xfrm>
          <a:prstGeom prst="straightConnector1">
            <a:avLst/>
          </a:prstGeom>
          <a:noFill/>
          <a:ln w="38100" cap="flat" cmpd="sng" algn="ctr">
            <a:solidFill>
              <a:srgbClr val="000000"/>
            </a:solidFill>
            <a:prstDash val="solid"/>
            <a:tailEnd type="arrow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35" name="Rechteck 34"/>
          <p:cNvSpPr/>
          <p:nvPr/>
        </p:nvSpPr>
        <p:spPr>
          <a:xfrm>
            <a:off x="5080209" y="3852030"/>
            <a:ext cx="1584176" cy="514243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Adapter GIS</a:t>
            </a:r>
            <a:br>
              <a:rPr lang="de-DE" sz="1200" kern="0" dirty="0" smtClean="0">
                <a:solidFill>
                  <a:srgbClr val="000000"/>
                </a:solidFill>
                <a:latin typeface="Arial"/>
              </a:rPr>
            </a:b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(z.B. GML2CIM)</a:t>
            </a:r>
          </a:p>
        </p:txBody>
      </p:sp>
      <p:sp>
        <p:nvSpPr>
          <p:cNvPr id="36" name="Rechteck 35"/>
          <p:cNvSpPr/>
          <p:nvPr/>
        </p:nvSpPr>
        <p:spPr>
          <a:xfrm>
            <a:off x="5080209" y="3477394"/>
            <a:ext cx="1584176" cy="374636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Adapter DMS &amp; SCADA</a:t>
            </a:r>
          </a:p>
        </p:txBody>
      </p:sp>
      <p:sp>
        <p:nvSpPr>
          <p:cNvPr id="37" name="Rechteck 36"/>
          <p:cNvSpPr/>
          <p:nvPr/>
        </p:nvSpPr>
        <p:spPr>
          <a:xfrm>
            <a:off x="5080209" y="3077223"/>
            <a:ext cx="1584176" cy="396937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Adapte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/>
                </a:solidFill>
                <a:latin typeface="Arial"/>
              </a:rPr>
              <a:t>Schaltplanung</a:t>
            </a:r>
          </a:p>
        </p:txBody>
      </p:sp>
      <p:sp>
        <p:nvSpPr>
          <p:cNvPr id="38" name="Rechteck 37"/>
          <p:cNvSpPr/>
          <p:nvPr/>
        </p:nvSpPr>
        <p:spPr>
          <a:xfrm>
            <a:off x="5080209" y="2888830"/>
            <a:ext cx="1584176" cy="180876"/>
          </a:xfrm>
          <a:prstGeom prst="rect">
            <a:avLst/>
          </a:prstGeom>
          <a:solidFill>
            <a:srgbClr val="FFFFFF">
              <a:lumMod val="95000"/>
            </a:srgbClr>
          </a:solidFill>
          <a:ln w="25400" cap="flat" cmpd="sng" algn="ctr">
            <a:solidFill>
              <a:srgbClr val="FFFFFF">
                <a:lumMod val="6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kern="0" dirty="0" smtClean="0">
                <a:solidFill>
                  <a:srgbClr val="000000">
                    <a:lumMod val="75000"/>
                    <a:lumOff val="25000"/>
                  </a:srgbClr>
                </a:solidFill>
                <a:latin typeface="Arial"/>
              </a:rPr>
              <a:t>…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7443531" y="1728365"/>
            <a:ext cx="8178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200" b="1" kern="0" dirty="0" smtClean="0">
                <a:solidFill>
                  <a:srgbClr val="004894"/>
                </a:solidFill>
              </a:rPr>
              <a:t>Legende</a:t>
            </a:r>
            <a:endParaRPr lang="de-DE" b="1" kern="0" dirty="0" smtClean="0">
              <a:solidFill>
                <a:srgbClr val="004894"/>
              </a:solidFill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399629" y="1656358"/>
            <a:ext cx="8352928" cy="4364930"/>
          </a:xfrm>
          <a:prstGeom prst="rect">
            <a:avLst/>
          </a:prstGeom>
          <a:noFill/>
          <a:ln w="19050" cap="flat" cmpd="sng" algn="ctr">
            <a:solidFill>
              <a:srgbClr val="004894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6952357" y="1656358"/>
            <a:ext cx="1800200" cy="1232472"/>
          </a:xfrm>
          <a:prstGeom prst="rect">
            <a:avLst/>
          </a:prstGeom>
          <a:noFill/>
          <a:ln w="19050" cap="flat" cmpd="sng" algn="ctr">
            <a:solidFill>
              <a:srgbClr val="004894"/>
            </a:solidFill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kern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02516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Eisman</a:t>
            </a:r>
            <a:r>
              <a:rPr lang="de-DE" dirty="0" smtClean="0"/>
              <a:t>-SSM-App </a:t>
            </a:r>
            <a:r>
              <a:rPr lang="de-DE" dirty="0"/>
              <a:t>(für Fall 1 Systemsicherheitsmanagement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76263" y="1686396"/>
            <a:ext cx="7912100" cy="4406900"/>
          </a:xfrm>
        </p:spPr>
        <p:txBody>
          <a:bodyPr>
            <a:normAutofit fontScale="92500"/>
          </a:bodyPr>
          <a:lstStyle/>
          <a:p>
            <a:r>
              <a:rPr lang="de-DE" dirty="0" smtClean="0"/>
              <a:t>Wesentlichste </a:t>
            </a:r>
            <a:r>
              <a:rPr lang="de-DE" dirty="0" err="1" smtClean="0"/>
              <a:t>Use</a:t>
            </a:r>
            <a:r>
              <a:rPr lang="de-DE" dirty="0" smtClean="0"/>
              <a:t> Case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Teilautomatische Schaltvorschlagserstellung zu Absenkvorgabe erzeugen, bearbeiten u. freigeben im Einspeisemanagement unter Berücksichtigung Vorgaben u. Gesetz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Bereitstellung von aktuellen u. historischen Vorgängen/Maßnahmen</a:t>
            </a:r>
          </a:p>
          <a:p>
            <a:pPr lvl="1">
              <a:buFont typeface="Arial" panose="020B0604020202020204" pitchFamily="34" charset="0"/>
              <a:buChar char="•"/>
            </a:pPr>
            <a:endParaRPr lang="de-DE" dirty="0" smtClean="0"/>
          </a:p>
          <a:p>
            <a:r>
              <a:rPr lang="de-DE" dirty="0" smtClean="0"/>
              <a:t>Weitere Detail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/>
              <a:t>Abschaltvorschlagbestimmung aufgrund rechtlicher Anforderungen und </a:t>
            </a:r>
            <a:r>
              <a:rPr lang="de-DE" dirty="0" smtClean="0"/>
              <a:t>Konfigur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Verwaltung Entitäten in Datenbank und Bereitstellung an Schnittstellen (Gui u. Abfrage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Teilautomatisierte Vorschläge für Nachregeln </a:t>
            </a:r>
            <a:r>
              <a:rPr lang="de-DE" dirty="0"/>
              <a:t>und </a:t>
            </a:r>
            <a:r>
              <a:rPr lang="de-DE" dirty="0" smtClean="0"/>
              <a:t>Rücknahm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Import von Anlagenstammdaten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Abfrage von relevanten Topologie-Informationen, Ist-Messwerten, </a:t>
            </a:r>
            <a:r>
              <a:rPr lang="de-DE" dirty="0"/>
              <a:t>e</a:t>
            </a:r>
            <a:r>
              <a:rPr lang="de-DE" dirty="0" smtClean="0"/>
              <a:t>rrechnete Werte aus Netzzustandsbild (Ausbaustufe für SSM) für Abschaltvorschlagserstellung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Bereitstellung Schaltempfehlung (für anderes System oder Kundeninfo-Email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Umfassendes </a:t>
            </a:r>
            <a:r>
              <a:rPr lang="de-DE" dirty="0" err="1" smtClean="0"/>
              <a:t>Logging</a:t>
            </a:r>
            <a:r>
              <a:rPr lang="de-DE" dirty="0" smtClean="0"/>
              <a:t> zur Dokumentationspflich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de-DE" dirty="0" smtClean="0"/>
              <a:t>Daten </a:t>
            </a:r>
            <a:r>
              <a:rPr lang="de-DE" dirty="0"/>
              <a:t>für die Email-Kundeninformation erzeugen und </a:t>
            </a:r>
            <a:r>
              <a:rPr lang="de-DE" dirty="0" smtClean="0"/>
              <a:t> weitergeben</a:t>
            </a:r>
          </a:p>
        </p:txBody>
      </p:sp>
    </p:spTree>
    <p:extLst>
      <p:ext uri="{BB962C8B-B14F-4D97-AF65-F5344CB8AC3E}">
        <p14:creationId xmlns:p14="http://schemas.microsoft.com/office/powerpoint/2010/main" val="2725186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Welche Anlage wird bei einem Engpass abgeschaltet? (Ausgewählte Aspekte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Textplatzhalter 5"/>
          <p:cNvSpPr txBox="1">
            <a:spLocks/>
          </p:cNvSpPr>
          <p:nvPr/>
        </p:nvSpPr>
        <p:spPr bwMode="auto">
          <a:xfrm>
            <a:off x="128464" y="1772816"/>
            <a:ext cx="7920037" cy="4390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8288" marR="0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marR="0" indent="-2698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Elektrische Zusammenhänge</a:t>
            </a:r>
          </a:p>
          <a:p>
            <a:pPr marL="611188" marR="0" lvl="1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Zusammenhang mit Engpass, derzeitige u. künftige Einspeisung</a:t>
            </a: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Zunächst konventionelle Kraftwerke (bis zu gewissen Untergrenzen), dann erst die EEG-Anlagen</a:t>
            </a: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Gruppenreihenfolge gemäß BDEW/VKU-Abbildung</a:t>
            </a: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Diskriminierungsfreie Auswahl</a:t>
            </a:r>
          </a:p>
          <a:p>
            <a:pPr marL="611188" marR="0" lvl="1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Häufigkeit, Umfang, Dauer bisheriger Absenkungen,…</a:t>
            </a: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Varianzen in Bezug auf Vorgangstyp (z.B. bzgl. Diskriminierungsfreiheit) theoretisch möglich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246" y="3068960"/>
            <a:ext cx="3528427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3810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Eisman</a:t>
            </a:r>
            <a:r>
              <a:rPr lang="de-DE" dirty="0" smtClean="0"/>
              <a:t>-SSM-GUI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7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Inhaltsplatzhalter 2"/>
          <p:cNvSpPr txBox="1">
            <a:spLocks/>
          </p:cNvSpPr>
          <p:nvPr/>
        </p:nvSpPr>
        <p:spPr bwMode="auto">
          <a:xfrm>
            <a:off x="576263" y="1493838"/>
            <a:ext cx="7912100" cy="440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lnSpcReduction="10000"/>
          </a:bodyPr>
          <a:lstStyle>
            <a:lvl1pPr marL="342900" indent="-3429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8288" indent="-268288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Wesentliche </a:t>
            </a:r>
            <a:r>
              <a:rPr kumimoji="0" lang="de-DE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Use</a:t>
            </a: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 Cases </a:t>
            </a: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 genau wie bei </a:t>
            </a:r>
            <a:r>
              <a:rPr kumimoji="0" lang="de-DE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Eisman</a:t>
            </a: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-App: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Insb. Benutzungsoberfläche für Erstellen, Bearbeiten und Sichten von Vorgängen und Maßnahmen</a:t>
            </a: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Weitere Details: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Moderne Web-Oberflächen, die von mehreren Benutzern gleichzeitig genutzt werden können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Dialoge zur Bedienung und Überwachung der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Eisma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-App (insb. tabellarisch)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Einfärbung z.B. von Absenkstufen in Vorschlag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Authentifizierung mit Spezialmodul OAuth2 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Oberflächenmanagement über leichtgewichtiges Portalkonzept</a:t>
            </a:r>
            <a:b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</a:b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(auf Basis von Open Source)</a:t>
            </a:r>
          </a:p>
          <a:p>
            <a:pPr marL="482600" marR="0" lvl="2" indent="-28575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  <a:sym typeface="Wingdings" panose="05000000000000000000" pitchFamily="2" charset="2"/>
            </a:endParaRPr>
          </a:p>
          <a:p>
            <a:pPr marL="0" marR="0" lvl="0" indent="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1665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800" dirty="0" smtClean="0"/>
              <a:t>Netzzustandsbild </a:t>
            </a:r>
            <a:r>
              <a:rPr lang="de-DE" sz="2800" dirty="0"/>
              <a:t>1 (Minimalfunktionen für </a:t>
            </a:r>
            <a:r>
              <a:rPr lang="de-DE" sz="2800" dirty="0" err="1"/>
              <a:t>Eisman</a:t>
            </a:r>
            <a:r>
              <a:rPr lang="de-DE" sz="2800" dirty="0"/>
              <a:t>-SSM)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8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Inhaltsplatzhalter 2"/>
          <p:cNvSpPr txBox="1">
            <a:spLocks/>
          </p:cNvSpPr>
          <p:nvPr/>
        </p:nvSpPr>
        <p:spPr bwMode="auto">
          <a:xfrm>
            <a:off x="576263" y="1470372"/>
            <a:ext cx="8028185" cy="440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>
            <a:lvl1pPr marL="342900" indent="-3429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8288" indent="-268288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Wesentliche </a:t>
            </a:r>
            <a:r>
              <a:rPr kumimoji="0" lang="de-DE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Use</a:t>
            </a: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 Cases: </a:t>
            </a:r>
          </a:p>
          <a:p>
            <a:pPr marL="539750" marR="0" lvl="2" indent="-269875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inspeiser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integriert in aktueller Netztopologie und Zustand bereitstellen</a:t>
            </a:r>
          </a:p>
          <a:p>
            <a:pPr marL="539750" marR="0" lvl="2" indent="-269875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Ist-Werte zu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inspeiser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bereitstellen/vorhalten bzw. errechnen/herleiten</a:t>
            </a:r>
          </a:p>
          <a:p>
            <a:pPr marL="539750" marR="0" lvl="2" indent="-269875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Ggf. zukünftig zentrales Netzlaufzeitmodell für mehrere Apps (-&gt;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Arch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.)</a:t>
            </a:r>
          </a:p>
          <a:p>
            <a:pPr marL="342900" marR="0" lvl="0" indent="-34290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Enthält in dieser Stufe nur den (kleinen) für SSM notwenigen Anteil </a:t>
            </a:r>
          </a:p>
          <a:p>
            <a:pPr marL="539750" marR="0" lvl="2" indent="-269875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(insb. keine Verbraucher-Lasten, keine Identifikation von Überlastungen)</a:t>
            </a:r>
          </a:p>
          <a:p>
            <a:pPr marL="342900" marR="0" lvl="0" indent="-34290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Noch einige Architekturfragestellungen im Detail zu klären:</a:t>
            </a:r>
          </a:p>
          <a:p>
            <a:pPr marL="539750" marR="0" lvl="2" indent="-269875" algn="l" defTabSz="914400" rtl="0" eaLnBrk="0" fontAlgn="base" latinLnBrk="0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Abgrenzung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isman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-App bzgl. Anlagenstammdatenimport, Daten-aktualität, reines Informationsmodell oder auch ein Simulationsmodell</a:t>
            </a:r>
          </a:p>
        </p:txBody>
      </p:sp>
    </p:spTree>
    <p:extLst>
      <p:ext uri="{BB962C8B-B14F-4D97-AF65-F5344CB8AC3E}">
        <p14:creationId xmlns:p14="http://schemas.microsoft.com/office/powerpoint/2010/main" val="3350172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etzzustandsbild </a:t>
            </a:r>
            <a:r>
              <a:rPr lang="de-DE" dirty="0"/>
              <a:t>1 GUI (</a:t>
            </a:r>
            <a:r>
              <a:rPr lang="de-DE" dirty="0" err="1"/>
              <a:t>TreeView</a:t>
            </a:r>
            <a:r>
              <a:rPr lang="de-DE" dirty="0"/>
              <a:t>)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platzhalter 2"/>
          <p:cNvSpPr txBox="1">
            <a:spLocks/>
          </p:cNvSpPr>
          <p:nvPr/>
        </p:nvSpPr>
        <p:spPr bwMode="auto">
          <a:xfrm>
            <a:off x="568388" y="1515417"/>
            <a:ext cx="7920037" cy="4390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8288" marR="0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marR="0" indent="-2698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Baumbasierte Visualisierung der im "Netzzustandsbild 1" enthaltenen Informationen als Web-Oberfläche </a:t>
            </a:r>
          </a:p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In Stufe 1: Daten über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inspeiser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, deren gemessene oder ermittelte Ist-Werte, sowie die Verortung der </a:t>
            </a:r>
            <a:r>
              <a:rPr kumimoji="0" lang="de-DE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Einspeiser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in der Netztopologie (Umspannwerk, Ortsnetzstation, keine Leitungen)</a:t>
            </a:r>
          </a:p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de-DE" sz="1800" b="1" i="0" u="none" strike="noStrike" kern="1200" cap="none" spc="0" normalizeH="0" baseline="0" noProof="0" dirty="0" smtClean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Konfiguration von Aspekten des Netzzustandsbild 1</a:t>
            </a:r>
          </a:p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268288" marR="0" lvl="1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Authentifizierung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endParaRPr kumimoji="0" lang="de-DE" sz="1800" b="1" i="0" u="none" strike="noStrike" kern="1200" cap="none" spc="0" normalizeH="0" baseline="0" noProof="0" dirty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912" y="4811464"/>
            <a:ext cx="5141371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1662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dirty="0" smtClean="0"/>
              <a:t>Agenda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564764" y="1736636"/>
            <a:ext cx="878072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/>
              <a:t>10:00 – 10:15 Uhr: Begrüßung und Vorstellung der Teilnehmer (Herr </a:t>
            </a:r>
            <a:r>
              <a:rPr lang="de-DE" dirty="0" smtClean="0"/>
              <a:t>Herdt)</a:t>
            </a:r>
            <a:endParaRPr lang="de-DE" dirty="0"/>
          </a:p>
          <a:p>
            <a:r>
              <a:rPr lang="de-DE" dirty="0"/>
              <a:t>10:15 – 11:00 Uhr: Committees, Arbeitspakete und Rollen in der Pilotphase (Herr Herdt) </a:t>
            </a:r>
          </a:p>
          <a:p>
            <a:pPr marL="1706563" indent="-1706563"/>
            <a:r>
              <a:rPr lang="de-DE" dirty="0"/>
              <a:t>11:00 – 12:00 Uhr: Vorgehen und Methodik - beispielhaft an openMDM (Herr Helming und Herr Müller)</a:t>
            </a:r>
          </a:p>
          <a:p>
            <a:r>
              <a:rPr lang="de-DE" dirty="0"/>
              <a:t>12:00 – 12:30 Uhr: Mittagessen</a:t>
            </a:r>
          </a:p>
          <a:p>
            <a:r>
              <a:rPr lang="de-DE" dirty="0"/>
              <a:t>12:30 – 16:00 Uhr: Vorstellung des Pilotprojekts durch die BTC AG (Herr Krüger und Herr Rohr)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Vorstellung Projektteam BTC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Status und aktuelle Aktivitäten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Vorgehen: Lean, Agile &amp; </a:t>
            </a:r>
            <a:r>
              <a:rPr lang="de-DE" dirty="0" err="1"/>
              <a:t>Scrum</a:t>
            </a:r>
            <a:endParaRPr lang="de-DE" dirty="0"/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Zeitplan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Projektinhalte (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/>
              <a:t>Backlog</a:t>
            </a:r>
            <a:r>
              <a:rPr lang="de-DE" dirty="0"/>
              <a:t>)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Statusberichte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de-DE" dirty="0"/>
              <a:t>Abnahme (Vorgehen, Testdrehbücher, etc.)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9576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IM </a:t>
            </a:r>
            <a:r>
              <a:rPr lang="de-DE" dirty="0"/>
              <a:t>Schnittstellenschema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99492" y="3573016"/>
            <a:ext cx="8032948" cy="1152128"/>
          </a:xfrm>
          <a:prstGeom prst="rect">
            <a:avLst/>
          </a:prstGeom>
          <a:solidFill>
            <a:srgbClr val="004894">
              <a:lumMod val="40000"/>
              <a:lumOff val="60000"/>
              <a:alpha val="74901"/>
            </a:srgbClr>
          </a:solidFill>
          <a:ln w="3175" algn="ctr">
            <a:solidFill>
              <a:srgbClr val="00489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Textplatzhalter 2"/>
          <p:cNvSpPr txBox="1">
            <a:spLocks/>
          </p:cNvSpPr>
          <p:nvPr/>
        </p:nvSpPr>
        <p:spPr bwMode="auto">
          <a:xfrm>
            <a:off x="568388" y="1515417"/>
            <a:ext cx="7920037" cy="4390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268288" marR="0" indent="-268288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marR="0" indent="-269875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Symbol" pitchFamily="18" charset="2"/>
              <a:buChar char="-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9500" indent="-26987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Font typeface="Symbol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Wesentliche Rolle:</a:t>
            </a: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Offene (i.S.v. nachvollziehbar, maschineninterpretierbar) Schnittstellen zur Kommunikation zwischen „Apps“ und anderen Systemen (via ESB)</a:t>
            </a: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Alle Schnittstellen der Apps zum ESB werden CIM als „Sprache“ (semantisches Datenmodell) einsetzen </a:t>
            </a: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/>
              </a:rPr>
              <a:t>Schnittstellen gemäß IEC CIM Standard um </a:t>
            </a: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Vielfalt zu ermöglichen: Herstellerübergreifbar verständliche Sprache</a:t>
            </a: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Missverständnisse vermeiden (übliche Kosten- und Fehlerquelle!)</a:t>
            </a: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e-DE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554038" marR="0" lvl="1" indent="-28575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Zunächst </a:t>
            </a:r>
            <a:r>
              <a:rPr kumimoji="0" lang="de-DE" sz="1800" b="0" i="0" u="sng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keine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CIM-Adapter zu konkreten Quellsystemen (z.B. GIS, SAP, NLS, BDH, …) </a:t>
            </a:r>
            <a:r>
              <a:rPr kumimoji="0" lang="de-D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sym typeface="Wingdings" panose="05000000000000000000" pitchFamily="2" charset="2"/>
              </a:rPr>
              <a:t> sondern zunächst systemunabhängig</a:t>
            </a: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0271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IM veranschaulicht im </a:t>
            </a:r>
            <a:r>
              <a:rPr lang="de-DE" dirty="0" err="1"/>
              <a:t>openKONSEQUENZ</a:t>
            </a:r>
            <a:r>
              <a:rPr lang="de-DE" dirty="0"/>
              <a:t>-Bild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Fußzeilenplatzhalter 3"/>
          <p:cNvSpPr txBox="1">
            <a:spLocks/>
          </p:cNvSpPr>
          <p:nvPr/>
        </p:nvSpPr>
        <p:spPr>
          <a:xfrm>
            <a:off x="576263" y="5904111"/>
            <a:ext cx="5583237" cy="179388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4894"/>
                </a:solidFill>
                <a:effectLst/>
                <a:uLnTx/>
                <a:uFillTx/>
                <a:latin typeface="Arial" charset="0"/>
              </a:rPr>
              <a:t>Kick-Off OpenKonsequenz, Jan Krüger, 4.2.2015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4894"/>
              </a:solidFill>
              <a:effectLst/>
              <a:uLnTx/>
              <a:uFillTx/>
              <a:latin typeface="Arial" charset="0"/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99647"/>
            <a:ext cx="5774407" cy="4693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Ellipse 16"/>
          <p:cNvSpPr/>
          <p:nvPr/>
        </p:nvSpPr>
        <p:spPr bwMode="auto">
          <a:xfrm>
            <a:off x="861256" y="3386708"/>
            <a:ext cx="360040" cy="1211560"/>
          </a:xfrm>
          <a:prstGeom prst="ellipse">
            <a:avLst/>
          </a:prstGeom>
          <a:solidFill>
            <a:srgbClr val="004894">
              <a:lumMod val="40000"/>
              <a:lumOff val="60000"/>
              <a:alpha val="74901"/>
            </a:srgbClr>
          </a:solidFill>
          <a:ln w="3175" algn="ctr">
            <a:solidFill>
              <a:srgbClr val="00489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Ellipse 17"/>
          <p:cNvSpPr/>
          <p:nvPr/>
        </p:nvSpPr>
        <p:spPr bwMode="auto">
          <a:xfrm>
            <a:off x="1703276" y="3467283"/>
            <a:ext cx="360040" cy="1050405"/>
          </a:xfrm>
          <a:prstGeom prst="ellipse">
            <a:avLst/>
          </a:prstGeom>
          <a:solidFill>
            <a:srgbClr val="004894">
              <a:lumMod val="40000"/>
              <a:lumOff val="60000"/>
              <a:alpha val="74901"/>
            </a:srgbClr>
          </a:solidFill>
          <a:ln w="3175" algn="ctr">
            <a:solidFill>
              <a:srgbClr val="00489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9" name="Ellipse 18"/>
          <p:cNvSpPr/>
          <p:nvPr/>
        </p:nvSpPr>
        <p:spPr bwMode="auto">
          <a:xfrm>
            <a:off x="2063316" y="4314132"/>
            <a:ext cx="708484" cy="648692"/>
          </a:xfrm>
          <a:prstGeom prst="ellipse">
            <a:avLst/>
          </a:prstGeom>
          <a:solidFill>
            <a:srgbClr val="004894">
              <a:lumMod val="40000"/>
              <a:lumOff val="60000"/>
              <a:alpha val="74901"/>
            </a:srgbClr>
          </a:solidFill>
          <a:ln w="3175" algn="ctr">
            <a:solidFill>
              <a:srgbClr val="00489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Ellipse 19"/>
          <p:cNvSpPr/>
          <p:nvPr/>
        </p:nvSpPr>
        <p:spPr bwMode="auto">
          <a:xfrm>
            <a:off x="1642864" y="4334237"/>
            <a:ext cx="216024" cy="648692"/>
          </a:xfrm>
          <a:prstGeom prst="ellipse">
            <a:avLst/>
          </a:prstGeom>
          <a:solidFill>
            <a:srgbClr val="004894">
              <a:lumMod val="40000"/>
              <a:lumOff val="60000"/>
              <a:alpha val="74901"/>
            </a:srgbClr>
          </a:solidFill>
          <a:ln w="3175" algn="ctr">
            <a:solidFill>
              <a:srgbClr val="00489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861256" y="4354342"/>
            <a:ext cx="577180" cy="648692"/>
          </a:xfrm>
          <a:prstGeom prst="ellipse">
            <a:avLst/>
          </a:prstGeom>
          <a:solidFill>
            <a:srgbClr val="004894">
              <a:lumMod val="40000"/>
              <a:lumOff val="60000"/>
              <a:alpha val="74901"/>
            </a:srgbClr>
          </a:solidFill>
          <a:ln w="3175" algn="ctr">
            <a:solidFill>
              <a:srgbClr val="00489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1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416724" y="2299921"/>
            <a:ext cx="252028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Jetziger Auftrag bzgl. CIM: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pps kommunizieren  mit ESB via CIM Schnittstelle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SB stellt (systemunspezifische) CIM Schnittstellen bereit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ntegration: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Quellsysteme könnte CIM unterstützen oder es werden Adapter zu existierenden Schnittstellen genutzt.</a:t>
            </a:r>
          </a:p>
        </p:txBody>
      </p:sp>
    </p:spTree>
    <p:extLst>
      <p:ext uri="{BB962C8B-B14F-4D97-AF65-F5344CB8AC3E}">
        <p14:creationId xmlns:p14="http://schemas.microsoft.com/office/powerpoint/2010/main" val="1258339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eilnehmer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e-DE" dirty="0"/>
              <a:t>Fabian Dreykorn		N-ERGIE </a:t>
            </a:r>
          </a:p>
          <a:p>
            <a:r>
              <a:rPr lang="de-DE" dirty="0" smtClean="0"/>
              <a:t>Frank </a:t>
            </a:r>
            <a:r>
              <a:rPr lang="de-DE" dirty="0"/>
              <a:t>Rose	</a:t>
            </a:r>
            <a:r>
              <a:rPr lang="de-DE" dirty="0" smtClean="0"/>
              <a:t>	NETRION</a:t>
            </a:r>
            <a:endParaRPr lang="de-DE" dirty="0"/>
          </a:p>
          <a:p>
            <a:r>
              <a:rPr lang="de-DE" dirty="0"/>
              <a:t>Gerhard Pfahler		N-ERGIE</a:t>
            </a:r>
          </a:p>
          <a:p>
            <a:r>
              <a:rPr lang="de-DE" dirty="0" smtClean="0"/>
              <a:t>Hans-Peter </a:t>
            </a:r>
            <a:r>
              <a:rPr lang="de-DE" dirty="0"/>
              <a:t>Hamann	BTC</a:t>
            </a:r>
          </a:p>
          <a:p>
            <a:r>
              <a:rPr lang="de-DE" dirty="0"/>
              <a:t>Jan Krueger		BTC</a:t>
            </a:r>
          </a:p>
          <a:p>
            <a:r>
              <a:rPr lang="de-DE" dirty="0" smtClean="0"/>
              <a:t>Jonas </a:t>
            </a:r>
            <a:r>
              <a:rPr lang="de-DE" dirty="0"/>
              <a:t>Helming	</a:t>
            </a:r>
            <a:r>
              <a:rPr lang="de-DE" dirty="0" smtClean="0"/>
              <a:t>	</a:t>
            </a:r>
            <a:r>
              <a:rPr lang="de-DE" dirty="0" err="1" smtClean="0"/>
              <a:t>EclipseSource</a:t>
            </a:r>
            <a:r>
              <a:rPr lang="de-DE" dirty="0" smtClean="0"/>
              <a:t> </a:t>
            </a:r>
            <a:r>
              <a:rPr lang="de-DE" dirty="0"/>
              <a:t>München GmbH </a:t>
            </a:r>
          </a:p>
          <a:p>
            <a:r>
              <a:rPr lang="de-DE" dirty="0" smtClean="0"/>
              <a:t>Kai </a:t>
            </a:r>
            <a:r>
              <a:rPr lang="de-DE" dirty="0"/>
              <a:t>Schmidt		e-netz-</a:t>
            </a:r>
            <a:r>
              <a:rPr lang="de-DE" dirty="0" err="1"/>
              <a:t>suedhessen</a:t>
            </a:r>
            <a:endParaRPr lang="de-DE" dirty="0"/>
          </a:p>
          <a:p>
            <a:r>
              <a:rPr lang="de-DE" dirty="0" smtClean="0"/>
              <a:t>Kuhla</a:t>
            </a:r>
            <a:r>
              <a:rPr lang="de-DE" dirty="0"/>
              <a:t>, Julia		ITEC</a:t>
            </a:r>
          </a:p>
          <a:p>
            <a:r>
              <a:rPr lang="de-DE" dirty="0" smtClean="0"/>
              <a:t>Legner</a:t>
            </a:r>
            <a:r>
              <a:rPr lang="de-DE" dirty="0"/>
              <a:t>, Thomas	</a:t>
            </a:r>
            <a:r>
              <a:rPr lang="de-DE" dirty="0" smtClean="0"/>
              <a:t>	MDN</a:t>
            </a:r>
            <a:endParaRPr lang="de-DE" dirty="0"/>
          </a:p>
          <a:p>
            <a:r>
              <a:rPr lang="de-DE" dirty="0" smtClean="0"/>
              <a:t>Matthias Rohr</a:t>
            </a:r>
            <a:r>
              <a:rPr lang="de-DE" dirty="0"/>
              <a:t>		BTC</a:t>
            </a:r>
          </a:p>
          <a:p>
            <a:r>
              <a:rPr lang="de-DE" dirty="0" smtClean="0"/>
              <a:t>Peter </a:t>
            </a:r>
            <a:r>
              <a:rPr lang="de-DE" dirty="0"/>
              <a:t>Herdt 		MDN</a:t>
            </a:r>
          </a:p>
          <a:p>
            <a:r>
              <a:rPr lang="de-DE" dirty="0" smtClean="0"/>
              <a:t>Ralph </a:t>
            </a:r>
            <a:r>
              <a:rPr lang="de-DE" dirty="0"/>
              <a:t>Mueller		Eclipse Foundation</a:t>
            </a:r>
          </a:p>
          <a:p>
            <a:r>
              <a:rPr lang="de-DE" dirty="0"/>
              <a:t>Stefan Brockmann		</a:t>
            </a:r>
            <a:r>
              <a:rPr lang="de-DE" dirty="0" smtClean="0"/>
              <a:t>BTC</a:t>
            </a:r>
          </a:p>
          <a:p>
            <a:r>
              <a:rPr lang="de-DE" dirty="0" smtClean="0"/>
              <a:t>Wolfgang </a:t>
            </a:r>
            <a:r>
              <a:rPr lang="de-DE" dirty="0" err="1"/>
              <a:t>Steffl</a:t>
            </a:r>
            <a:r>
              <a:rPr lang="de-DE" dirty="0"/>
              <a:t>		e-netz-</a:t>
            </a:r>
            <a:r>
              <a:rPr lang="de-DE" dirty="0" err="1"/>
              <a:t>suedhessen</a:t>
            </a:r>
            <a:endParaRPr lang="de-DE" dirty="0"/>
          </a:p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911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dirty="0"/>
              <a:t>openKONSEQUENZ: Pilotphase und </a:t>
            </a:r>
            <a:r>
              <a:rPr lang="de-DE" altLang="de-DE" sz="2400" dirty="0" smtClean="0"/>
              <a:t>Pilotprojekt</a:t>
            </a:r>
            <a:br>
              <a:rPr lang="de-DE" altLang="de-DE" sz="2400" dirty="0" smtClean="0"/>
            </a:br>
            <a:r>
              <a:rPr lang="de-DE" altLang="de-DE" sz="2400" dirty="0" smtClean="0"/>
              <a:t>Organisation </a:t>
            </a:r>
            <a:r>
              <a:rPr lang="de-DE" altLang="de-DE" sz="2400" dirty="0"/>
              <a:t>der Working </a:t>
            </a:r>
            <a:r>
              <a:rPr lang="de-DE" altLang="de-DE" sz="2400" dirty="0" smtClean="0"/>
              <a:t>Group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4233862" y="1687513"/>
            <a:ext cx="1727200" cy="215900"/>
          </a:xfrm>
          <a:prstGeom prst="flowChartProcess">
            <a:avLst/>
          </a:prstGeom>
          <a:solidFill>
            <a:srgbClr val="F02E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 dirty="0">
                <a:solidFill>
                  <a:schemeClr val="bg1"/>
                </a:solidFill>
              </a:rPr>
              <a:t>Entscheider</a:t>
            </a:r>
          </a:p>
        </p:txBody>
      </p:sp>
      <p:sp>
        <p:nvSpPr>
          <p:cNvPr id="8" name="AutoShape 4"/>
          <p:cNvSpPr>
            <a:spLocks noChangeArrowheads="1"/>
          </p:cNvSpPr>
          <p:nvPr/>
        </p:nvSpPr>
        <p:spPr bwMode="auto">
          <a:xfrm>
            <a:off x="4233862" y="1903416"/>
            <a:ext cx="1727200" cy="733499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altLang="de-DE" sz="1000" dirty="0" smtClean="0"/>
              <a:t>Reinhard </a:t>
            </a:r>
            <a:r>
              <a:rPr lang="de-DE" altLang="de-DE" sz="1000" dirty="0" err="1" smtClean="0"/>
              <a:t>Kalisch</a:t>
            </a:r>
            <a:r>
              <a:rPr lang="de-DE" altLang="de-DE" sz="1000" dirty="0"/>
              <a:t>, </a:t>
            </a:r>
            <a:r>
              <a:rPr lang="de-DE" altLang="de-DE" sz="1000" dirty="0" smtClean="0"/>
              <a:t>e-netz</a:t>
            </a:r>
            <a:endParaRPr lang="de-DE" altLang="de-DE" sz="1000" dirty="0"/>
          </a:p>
          <a:p>
            <a:r>
              <a:rPr lang="de-DE" altLang="de-DE" sz="1000" dirty="0"/>
              <a:t>Gerald Höfer, </a:t>
            </a:r>
            <a:r>
              <a:rPr lang="de-DE" altLang="de-DE" sz="1000" dirty="0" smtClean="0"/>
              <a:t>MDN</a:t>
            </a:r>
            <a:endParaRPr lang="de-DE" altLang="de-DE" sz="1000" dirty="0"/>
          </a:p>
          <a:p>
            <a:r>
              <a:rPr lang="de-DE" altLang="de-DE" sz="1000" dirty="0" smtClean="0"/>
              <a:t>Eric </a:t>
            </a:r>
            <a:r>
              <a:rPr lang="de-DE" altLang="de-DE" sz="1000" dirty="0"/>
              <a:t>Jennes, </a:t>
            </a:r>
            <a:r>
              <a:rPr lang="de-DE" altLang="de-DE" sz="1000" dirty="0" smtClean="0"/>
              <a:t>NETRION</a:t>
            </a:r>
          </a:p>
          <a:p>
            <a:r>
              <a:rPr lang="de-DE" sz="1000" dirty="0"/>
              <a:t>Andreas </a:t>
            </a:r>
            <a:r>
              <a:rPr lang="de-DE" sz="1000" dirty="0" err="1" smtClean="0"/>
              <a:t>Kühnl</a:t>
            </a:r>
            <a:r>
              <a:rPr lang="de-DE" sz="1000" dirty="0" smtClean="0"/>
              <a:t>, Netz Leipzig</a:t>
            </a:r>
            <a:endParaRPr lang="de-DE" altLang="de-DE" sz="1000" dirty="0"/>
          </a:p>
        </p:txBody>
      </p:sp>
      <p:sp>
        <p:nvSpPr>
          <p:cNvPr id="9" name="AutoShape 8"/>
          <p:cNvSpPr>
            <a:spLocks noChangeArrowheads="1"/>
          </p:cNvSpPr>
          <p:nvPr/>
        </p:nvSpPr>
        <p:spPr bwMode="auto">
          <a:xfrm>
            <a:off x="4195764" y="4378831"/>
            <a:ext cx="1800225" cy="431800"/>
          </a:xfrm>
          <a:prstGeom prst="flowChartProcess">
            <a:avLst/>
          </a:prstGeom>
          <a:gradFill>
            <a:gsLst>
              <a:gs pos="0">
                <a:srgbClr val="92D050"/>
              </a:gs>
              <a:gs pos="50000">
                <a:schemeClr val="accent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0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 dirty="0" err="1">
                <a:solidFill>
                  <a:schemeClr val="tx2"/>
                </a:solidFill>
              </a:rPr>
              <a:t>Architecture</a:t>
            </a:r>
            <a:r>
              <a:rPr lang="de-DE" altLang="de-DE" sz="1400" b="1" dirty="0">
                <a:solidFill>
                  <a:schemeClr val="tx2"/>
                </a:solidFill>
              </a:rPr>
              <a:t> </a:t>
            </a:r>
          </a:p>
          <a:p>
            <a:pPr algn="ctr"/>
            <a:r>
              <a:rPr lang="de-DE" altLang="de-DE" sz="1400" b="1" dirty="0">
                <a:solidFill>
                  <a:schemeClr val="tx2"/>
                </a:solidFill>
              </a:rPr>
              <a:t>Committee</a:t>
            </a:r>
          </a:p>
        </p:txBody>
      </p:sp>
      <p:sp>
        <p:nvSpPr>
          <p:cNvPr id="10" name="AutoShape 9"/>
          <p:cNvSpPr>
            <a:spLocks noChangeArrowheads="1"/>
          </p:cNvSpPr>
          <p:nvPr/>
        </p:nvSpPr>
        <p:spPr bwMode="auto">
          <a:xfrm>
            <a:off x="4195764" y="4810635"/>
            <a:ext cx="1800225" cy="994629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altLang="de-DE" sz="1000" dirty="0"/>
              <a:t>Peter Herdt, MDN</a:t>
            </a:r>
          </a:p>
          <a:p>
            <a:r>
              <a:rPr lang="de-DE" altLang="de-DE" sz="1000" dirty="0" smtClean="0"/>
              <a:t>Kai Schmidt, e-netz</a:t>
            </a:r>
          </a:p>
          <a:p>
            <a:r>
              <a:rPr lang="de-DE" altLang="de-DE" sz="1000" dirty="0" smtClean="0"/>
              <a:t>Thomas Behrendt, NETRION</a:t>
            </a:r>
          </a:p>
          <a:p>
            <a:r>
              <a:rPr lang="de-DE" sz="1000" dirty="0" smtClean="0"/>
              <a:t>NN Netz </a:t>
            </a:r>
            <a:r>
              <a:rPr lang="de-DE" sz="1000" dirty="0"/>
              <a:t>Leipzig</a:t>
            </a:r>
            <a:endParaRPr lang="de-DE" altLang="de-DE" sz="1000" dirty="0" smtClean="0"/>
          </a:p>
          <a:p>
            <a:r>
              <a:rPr lang="de-DE" altLang="de-DE" sz="1000" dirty="0"/>
              <a:t>Jan Krüger, BTC </a:t>
            </a:r>
          </a:p>
          <a:p>
            <a:r>
              <a:rPr lang="de-DE" altLang="de-DE" sz="1000" dirty="0" smtClean="0"/>
              <a:t>Weitere Gastunternehmen</a:t>
            </a:r>
            <a:endParaRPr lang="de-DE" altLang="de-DE" sz="1000" dirty="0"/>
          </a:p>
        </p:txBody>
      </p:sp>
      <p:sp>
        <p:nvSpPr>
          <p:cNvPr id="11" name="AutoShape 10"/>
          <p:cNvSpPr>
            <a:spLocks noChangeArrowheads="1"/>
          </p:cNvSpPr>
          <p:nvPr/>
        </p:nvSpPr>
        <p:spPr bwMode="auto">
          <a:xfrm>
            <a:off x="6678612" y="2924178"/>
            <a:ext cx="1727200" cy="215900"/>
          </a:xfrm>
          <a:prstGeom prst="flowChartProcess">
            <a:avLst/>
          </a:prstGeom>
          <a:solidFill>
            <a:srgbClr val="3366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>
                <a:solidFill>
                  <a:schemeClr val="bg1"/>
                </a:solidFill>
              </a:rPr>
              <a:t>ext. Dienstleister</a:t>
            </a:r>
          </a:p>
        </p:txBody>
      </p:sp>
      <p:sp>
        <p:nvSpPr>
          <p:cNvPr id="12" name="AutoShape 11"/>
          <p:cNvSpPr>
            <a:spLocks noChangeArrowheads="1"/>
          </p:cNvSpPr>
          <p:nvPr/>
        </p:nvSpPr>
        <p:spPr bwMode="auto">
          <a:xfrm>
            <a:off x="6678612" y="3137218"/>
            <a:ext cx="1727200" cy="719931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sz="1000" dirty="0"/>
              <a:t>Klaus-Dieter </a:t>
            </a:r>
            <a:r>
              <a:rPr lang="de-DE" altLang="de-DE" sz="1000" dirty="0" smtClean="0"/>
              <a:t>Henke</a:t>
            </a:r>
          </a:p>
          <a:p>
            <a:pPr algn="r"/>
            <a:r>
              <a:rPr lang="de-DE" altLang="de-DE" sz="1000" dirty="0" smtClean="0"/>
              <a:t>Consulectra</a:t>
            </a:r>
            <a:endParaRPr lang="de-DE" altLang="de-DE" sz="1000" dirty="0"/>
          </a:p>
        </p:txBody>
      </p:sp>
      <p:cxnSp>
        <p:nvCxnSpPr>
          <p:cNvPr id="13" name="AutoShape 16"/>
          <p:cNvCxnSpPr>
            <a:cxnSpLocks noChangeShapeType="1"/>
          </p:cNvCxnSpPr>
          <p:nvPr/>
        </p:nvCxnSpPr>
        <p:spPr bwMode="auto">
          <a:xfrm flipH="1">
            <a:off x="5097462" y="4126419"/>
            <a:ext cx="319" cy="2540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14" name="AutoShape 17"/>
          <p:cNvCxnSpPr>
            <a:cxnSpLocks noChangeShapeType="1"/>
          </p:cNvCxnSpPr>
          <p:nvPr/>
        </p:nvCxnSpPr>
        <p:spPr bwMode="auto">
          <a:xfrm>
            <a:off x="5095877" y="4126419"/>
            <a:ext cx="2409825" cy="252412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15" name="AutoShape 19"/>
          <p:cNvSpPr>
            <a:spLocks noChangeArrowheads="1"/>
          </p:cNvSpPr>
          <p:nvPr/>
        </p:nvSpPr>
        <p:spPr bwMode="auto">
          <a:xfrm>
            <a:off x="1852612" y="4378831"/>
            <a:ext cx="1727200" cy="433388"/>
          </a:xfrm>
          <a:prstGeom prst="flowChartProcess">
            <a:avLst/>
          </a:prstGeom>
          <a:gradFill>
            <a:gsLst>
              <a:gs pos="0">
                <a:srgbClr val="92D050"/>
              </a:gs>
              <a:gs pos="50000">
                <a:schemeClr val="accent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0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 dirty="0">
                <a:solidFill>
                  <a:schemeClr val="tx2"/>
                </a:solidFill>
              </a:rPr>
              <a:t>Project </a:t>
            </a:r>
            <a:r>
              <a:rPr lang="de-DE" altLang="de-DE" sz="1400" b="1" dirty="0" err="1">
                <a:solidFill>
                  <a:schemeClr val="tx2"/>
                </a:solidFill>
              </a:rPr>
              <a:t>Planning</a:t>
            </a:r>
            <a:endParaRPr lang="de-DE" altLang="de-DE" sz="1400" b="1" dirty="0">
              <a:solidFill>
                <a:schemeClr val="tx2"/>
              </a:solidFill>
            </a:endParaRPr>
          </a:p>
          <a:p>
            <a:pPr algn="ctr"/>
            <a:r>
              <a:rPr lang="de-DE" altLang="de-DE" sz="1400" b="1" dirty="0">
                <a:solidFill>
                  <a:schemeClr val="tx2"/>
                </a:solidFill>
              </a:rPr>
              <a:t>Committee</a:t>
            </a:r>
          </a:p>
        </p:txBody>
      </p:sp>
      <p:sp>
        <p:nvSpPr>
          <p:cNvPr id="16" name="AutoShape 20"/>
          <p:cNvSpPr>
            <a:spLocks noChangeArrowheads="1"/>
          </p:cNvSpPr>
          <p:nvPr/>
        </p:nvSpPr>
        <p:spPr bwMode="auto">
          <a:xfrm>
            <a:off x="1852612" y="4812223"/>
            <a:ext cx="1727200" cy="993041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altLang="de-DE" sz="1000" dirty="0" smtClean="0"/>
              <a:t>Thomas Legner, MDN</a:t>
            </a:r>
            <a:endParaRPr lang="de-DE" altLang="de-DE" sz="1000" dirty="0"/>
          </a:p>
          <a:p>
            <a:r>
              <a:rPr lang="de-DE" altLang="de-DE" sz="1000" dirty="0" smtClean="0"/>
              <a:t>Wolfgang </a:t>
            </a:r>
            <a:r>
              <a:rPr lang="de-DE" altLang="de-DE" sz="1000" dirty="0" err="1" smtClean="0"/>
              <a:t>Steffl</a:t>
            </a:r>
            <a:r>
              <a:rPr lang="de-DE" altLang="de-DE" sz="1000" dirty="0" smtClean="0"/>
              <a:t>, e-netz</a:t>
            </a:r>
            <a:endParaRPr lang="de-DE" altLang="de-DE" sz="1000" dirty="0"/>
          </a:p>
          <a:p>
            <a:r>
              <a:rPr lang="de-DE" altLang="de-DE" sz="1000" dirty="0" smtClean="0"/>
              <a:t>Gordon Pickford, NETRION</a:t>
            </a:r>
            <a:endParaRPr lang="de-DE" altLang="de-DE" sz="1000" dirty="0"/>
          </a:p>
          <a:p>
            <a:r>
              <a:rPr lang="de-DE" sz="1000" dirty="0" smtClean="0"/>
              <a:t>Roland </a:t>
            </a:r>
            <a:r>
              <a:rPr lang="de-DE" sz="1000" dirty="0" err="1" smtClean="0"/>
              <a:t>Sichting</a:t>
            </a:r>
            <a:r>
              <a:rPr lang="de-DE" sz="1000" dirty="0" smtClean="0"/>
              <a:t> Netz </a:t>
            </a:r>
            <a:r>
              <a:rPr lang="de-DE" sz="1000" dirty="0"/>
              <a:t>Leipzig</a:t>
            </a:r>
            <a:endParaRPr lang="de-DE" altLang="de-DE" sz="1000" dirty="0"/>
          </a:p>
          <a:p>
            <a:r>
              <a:rPr lang="de-DE" altLang="de-DE" sz="1000" dirty="0" smtClean="0"/>
              <a:t>NN, EWR</a:t>
            </a:r>
            <a:endParaRPr lang="de-DE" altLang="de-DE" sz="1000" dirty="0"/>
          </a:p>
        </p:txBody>
      </p:sp>
      <p:sp>
        <p:nvSpPr>
          <p:cNvPr id="17" name="AutoShape 9"/>
          <p:cNvSpPr>
            <a:spLocks noChangeArrowheads="1"/>
          </p:cNvSpPr>
          <p:nvPr/>
        </p:nvSpPr>
        <p:spPr bwMode="auto">
          <a:xfrm>
            <a:off x="6605587" y="4812223"/>
            <a:ext cx="1800225" cy="993041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altLang="de-DE" sz="1000" dirty="0"/>
              <a:t>Peter Herdt, MDN</a:t>
            </a:r>
          </a:p>
          <a:p>
            <a:r>
              <a:rPr lang="de-DE" altLang="de-DE" sz="1000" dirty="0"/>
              <a:t>Kai Schmidt, </a:t>
            </a:r>
            <a:r>
              <a:rPr lang="de-DE" altLang="de-DE" sz="1000" dirty="0" smtClean="0"/>
              <a:t>e-netz</a:t>
            </a:r>
          </a:p>
          <a:p>
            <a:r>
              <a:rPr lang="de-DE" altLang="de-DE" sz="1000" dirty="0"/>
              <a:t>Thomas Behrendt </a:t>
            </a:r>
            <a:r>
              <a:rPr lang="de-DE" altLang="de-DE" sz="1000" dirty="0" smtClean="0"/>
              <a:t>NETRION</a:t>
            </a:r>
            <a:endParaRPr lang="de-DE" altLang="de-DE" sz="1000" dirty="0"/>
          </a:p>
          <a:p>
            <a:r>
              <a:rPr lang="de-DE" sz="1000" dirty="0" smtClean="0"/>
              <a:t>NN Netz </a:t>
            </a:r>
            <a:r>
              <a:rPr lang="de-DE" sz="1000" dirty="0"/>
              <a:t>Leipzig</a:t>
            </a:r>
            <a:endParaRPr lang="de-DE" altLang="de-DE" sz="1000" dirty="0"/>
          </a:p>
          <a:p>
            <a:r>
              <a:rPr lang="de-DE" altLang="de-DE" sz="1000" dirty="0"/>
              <a:t>Jan Krüger, BTC </a:t>
            </a:r>
          </a:p>
          <a:p>
            <a:r>
              <a:rPr lang="de-DE" altLang="de-DE" sz="1000" dirty="0" smtClean="0"/>
              <a:t>Weitere Gastunternehmen</a:t>
            </a:r>
            <a:endParaRPr lang="de-DE" altLang="de-DE" sz="1000" dirty="0"/>
          </a:p>
          <a:p>
            <a:endParaRPr lang="de-DE" altLang="de-DE" sz="1000" dirty="0"/>
          </a:p>
          <a:p>
            <a:endParaRPr lang="de-DE" altLang="de-DE" sz="1000" dirty="0"/>
          </a:p>
        </p:txBody>
      </p:sp>
      <p:cxnSp>
        <p:nvCxnSpPr>
          <p:cNvPr id="18" name="AutoShape 17"/>
          <p:cNvCxnSpPr>
            <a:cxnSpLocks noChangeShapeType="1"/>
            <a:endCxn id="15" idx="0"/>
          </p:cNvCxnSpPr>
          <p:nvPr/>
        </p:nvCxnSpPr>
        <p:spPr bwMode="auto">
          <a:xfrm rot="10800000" flipV="1">
            <a:off x="2716212" y="4126419"/>
            <a:ext cx="2881314" cy="252412"/>
          </a:xfrm>
          <a:prstGeom prst="bentConnector2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1852614" y="2921318"/>
            <a:ext cx="1800225" cy="215900"/>
          </a:xfrm>
          <a:prstGeom prst="flowChartProcess">
            <a:avLst/>
          </a:prstGeom>
          <a:solidFill>
            <a:srgbClr val="F02E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 dirty="0">
                <a:solidFill>
                  <a:schemeClr val="bg1"/>
                </a:solidFill>
              </a:rPr>
              <a:t>Projektkoordination</a:t>
            </a:r>
          </a:p>
        </p:txBody>
      </p:sp>
      <p:sp>
        <p:nvSpPr>
          <p:cNvPr id="20" name="AutoShape 6"/>
          <p:cNvSpPr>
            <a:spLocks noChangeArrowheads="1"/>
          </p:cNvSpPr>
          <p:nvPr/>
        </p:nvSpPr>
        <p:spPr bwMode="auto">
          <a:xfrm>
            <a:off x="1852615" y="3137218"/>
            <a:ext cx="1793875" cy="446088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altLang="de-DE" sz="1000" dirty="0" smtClean="0"/>
              <a:t>Liane </a:t>
            </a:r>
            <a:r>
              <a:rPr lang="de-DE" altLang="de-DE" sz="1000" dirty="0"/>
              <a:t>Nickel NETRION</a:t>
            </a:r>
          </a:p>
        </p:txBody>
      </p:sp>
      <p:sp>
        <p:nvSpPr>
          <p:cNvPr id="21" name="AutoShape 5"/>
          <p:cNvSpPr>
            <a:spLocks noChangeArrowheads="1"/>
          </p:cNvSpPr>
          <p:nvPr/>
        </p:nvSpPr>
        <p:spPr bwMode="auto">
          <a:xfrm>
            <a:off x="4197667" y="2924175"/>
            <a:ext cx="1800225" cy="215900"/>
          </a:xfrm>
          <a:prstGeom prst="flowChartProcess">
            <a:avLst/>
          </a:prstGeom>
          <a:gradFill>
            <a:gsLst>
              <a:gs pos="0">
                <a:srgbClr val="92D050"/>
              </a:gs>
              <a:gs pos="50000">
                <a:schemeClr val="accent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0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 dirty="0" err="1">
                <a:solidFill>
                  <a:schemeClr val="tx2"/>
                </a:solidFill>
              </a:rPr>
              <a:t>Steering</a:t>
            </a:r>
            <a:r>
              <a:rPr lang="de-DE" altLang="de-DE" sz="1400" b="1" dirty="0">
                <a:solidFill>
                  <a:schemeClr val="tx2"/>
                </a:solidFill>
              </a:rPr>
              <a:t> Committee</a:t>
            </a:r>
          </a:p>
        </p:txBody>
      </p:sp>
      <p:sp>
        <p:nvSpPr>
          <p:cNvPr id="22" name="AutoShape 6"/>
          <p:cNvSpPr>
            <a:spLocks noChangeArrowheads="1"/>
          </p:cNvSpPr>
          <p:nvPr/>
        </p:nvSpPr>
        <p:spPr bwMode="auto">
          <a:xfrm>
            <a:off x="4200846" y="3140078"/>
            <a:ext cx="1793875" cy="720973"/>
          </a:xfrm>
          <a:prstGeom prst="flowChartProcess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/>
          <a:lstStyle/>
          <a:p>
            <a:r>
              <a:rPr lang="de-DE" altLang="de-DE" sz="1000" dirty="0" smtClean="0"/>
              <a:t>Peter Herdt, MDN</a:t>
            </a:r>
            <a:endParaRPr lang="de-DE" altLang="de-DE" sz="1000" dirty="0"/>
          </a:p>
          <a:p>
            <a:r>
              <a:rPr lang="de-DE" altLang="de-DE" sz="1000" dirty="0" smtClean="0"/>
              <a:t>Gerhard Regenbogen, </a:t>
            </a:r>
            <a:r>
              <a:rPr lang="de-DE" altLang="de-DE" sz="1000" dirty="0"/>
              <a:t>e-netz </a:t>
            </a:r>
            <a:endParaRPr lang="de-DE" altLang="de-DE" sz="1000" dirty="0" smtClean="0"/>
          </a:p>
          <a:p>
            <a:r>
              <a:rPr lang="de-DE" altLang="de-DE" sz="1000" dirty="0" smtClean="0"/>
              <a:t>Frank Rose, </a:t>
            </a:r>
            <a:r>
              <a:rPr lang="de-DE" altLang="de-DE" sz="1000" dirty="0"/>
              <a:t>NETRION</a:t>
            </a:r>
          </a:p>
          <a:p>
            <a:r>
              <a:rPr lang="de-DE" sz="1000" dirty="0" smtClean="0"/>
              <a:t>Michael Müller, </a:t>
            </a:r>
            <a:r>
              <a:rPr lang="de-DE" sz="1000" dirty="0"/>
              <a:t>Netz Leipzig</a:t>
            </a:r>
            <a:endParaRPr lang="de-DE" altLang="de-DE" sz="1000" dirty="0"/>
          </a:p>
        </p:txBody>
      </p:sp>
      <p:cxnSp>
        <p:nvCxnSpPr>
          <p:cNvPr id="23" name="Gerade Verbindung 22"/>
          <p:cNvCxnSpPr>
            <a:endCxn id="20" idx="3"/>
          </p:cNvCxnSpPr>
          <p:nvPr/>
        </p:nvCxnSpPr>
        <p:spPr>
          <a:xfrm flipH="1">
            <a:off x="3646487" y="3360262"/>
            <a:ext cx="5543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>
            <a:endCxn id="8" idx="2"/>
          </p:cNvCxnSpPr>
          <p:nvPr/>
        </p:nvCxnSpPr>
        <p:spPr>
          <a:xfrm flipV="1">
            <a:off x="5097462" y="2636911"/>
            <a:ext cx="0" cy="2872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AutoShape 16"/>
          <p:cNvCxnSpPr>
            <a:cxnSpLocks noChangeShapeType="1"/>
            <a:stCxn id="22" idx="2"/>
          </p:cNvCxnSpPr>
          <p:nvPr/>
        </p:nvCxnSpPr>
        <p:spPr bwMode="auto">
          <a:xfrm flipH="1">
            <a:off x="5097783" y="3861047"/>
            <a:ext cx="1" cy="26537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6" name="AutoShape 8"/>
          <p:cNvSpPr>
            <a:spLocks noChangeArrowheads="1"/>
          </p:cNvSpPr>
          <p:nvPr/>
        </p:nvSpPr>
        <p:spPr bwMode="auto">
          <a:xfrm>
            <a:off x="6605587" y="4380419"/>
            <a:ext cx="1800225" cy="431800"/>
          </a:xfrm>
          <a:prstGeom prst="flowChartProcess">
            <a:avLst/>
          </a:prstGeom>
          <a:gradFill>
            <a:gsLst>
              <a:gs pos="0">
                <a:srgbClr val="92D050"/>
              </a:gs>
              <a:gs pos="50000">
                <a:schemeClr val="accent2"/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0" scaled="0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de-DE" altLang="de-DE" sz="1400" b="1" dirty="0">
                <a:solidFill>
                  <a:schemeClr val="tx2"/>
                </a:solidFill>
              </a:rPr>
              <a:t>Quality</a:t>
            </a:r>
          </a:p>
          <a:p>
            <a:pPr algn="ctr"/>
            <a:r>
              <a:rPr lang="de-DE" altLang="de-DE" sz="1400" b="1" dirty="0">
                <a:solidFill>
                  <a:schemeClr val="tx2"/>
                </a:solidFill>
              </a:rPr>
              <a:t>Committee</a:t>
            </a:r>
          </a:p>
        </p:txBody>
      </p:sp>
    </p:spTree>
    <p:extLst>
      <p:ext uri="{BB962C8B-B14F-4D97-AF65-F5344CB8AC3E}">
        <p14:creationId xmlns:p14="http://schemas.microsoft.com/office/powerpoint/2010/main" val="3587069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dirty="0"/>
              <a:t>openKONSEQUENZ: Pilotphase und </a:t>
            </a:r>
            <a:r>
              <a:rPr lang="de-DE" altLang="de-DE" sz="2400" dirty="0" smtClean="0"/>
              <a:t>Pilotprojekt</a:t>
            </a:r>
            <a:br>
              <a:rPr lang="de-DE" altLang="de-DE" sz="2400" dirty="0" smtClean="0"/>
            </a:br>
            <a:r>
              <a:rPr lang="de-DE" altLang="de-DE" sz="2400" dirty="0" smtClean="0"/>
              <a:t>Projektstrukturplan</a:t>
            </a:r>
            <a:endParaRPr lang="de-DE" i="1" dirty="0">
              <a:solidFill>
                <a:srgbClr val="FF0000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27" name="Diagramm 26"/>
          <p:cNvGraphicFramePr/>
          <p:nvPr>
            <p:extLst>
              <p:ext uri="{D42A27DB-BD31-4B8C-83A1-F6EECF244321}">
                <p14:modId xmlns:p14="http://schemas.microsoft.com/office/powerpoint/2010/main" val="755845360"/>
              </p:ext>
            </p:extLst>
          </p:nvPr>
        </p:nvGraphicFramePr>
        <p:xfrm>
          <a:off x="344488" y="1556792"/>
          <a:ext cx="9110091" cy="30243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9" name="Rechteck 28"/>
          <p:cNvSpPr/>
          <p:nvPr/>
        </p:nvSpPr>
        <p:spPr>
          <a:xfrm>
            <a:off x="344488" y="4524504"/>
            <a:ext cx="688330" cy="1061829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>
                <a:solidFill>
                  <a:srgbClr val="002060"/>
                </a:solidFill>
              </a:rPr>
              <a:t>e-netz</a:t>
            </a:r>
          </a:p>
          <a:p>
            <a:r>
              <a:rPr lang="de-DE" sz="700" dirty="0">
                <a:solidFill>
                  <a:srgbClr val="002060"/>
                </a:solidFill>
              </a:rPr>
              <a:t>Regenbogen</a:t>
            </a:r>
          </a:p>
          <a:p>
            <a:r>
              <a:rPr lang="de-DE" sz="700" u="sng" dirty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Rose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Fr. Nickel</a:t>
            </a:r>
            <a:endParaRPr lang="de-DE" sz="700" dirty="0">
              <a:solidFill>
                <a:srgbClr val="002060"/>
              </a:solidFill>
            </a:endParaRPr>
          </a:p>
          <a:p>
            <a:r>
              <a:rPr lang="de-DE" sz="700" u="sng" dirty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b="1" dirty="0">
                <a:solidFill>
                  <a:srgbClr val="002060"/>
                </a:solidFill>
              </a:rPr>
              <a:t>M. Müller</a:t>
            </a:r>
          </a:p>
        </p:txBody>
      </p:sp>
      <p:sp>
        <p:nvSpPr>
          <p:cNvPr id="30" name="Rechteck 29"/>
          <p:cNvSpPr/>
          <p:nvPr/>
        </p:nvSpPr>
        <p:spPr>
          <a:xfrm>
            <a:off x="2824510" y="4509120"/>
            <a:ext cx="688330" cy="523220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Exter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OFFIS</a:t>
            </a:r>
          </a:p>
        </p:txBody>
      </p:sp>
      <p:sp>
        <p:nvSpPr>
          <p:cNvPr id="31" name="Rechteck 30"/>
          <p:cNvSpPr/>
          <p:nvPr/>
        </p:nvSpPr>
        <p:spPr>
          <a:xfrm>
            <a:off x="3656856" y="4501425"/>
            <a:ext cx="688330" cy="1061829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Regenbogen</a:t>
            </a:r>
          </a:p>
          <a:p>
            <a:r>
              <a:rPr lang="de-DE" sz="700" dirty="0" err="1" smtClean="0">
                <a:solidFill>
                  <a:srgbClr val="002060"/>
                </a:solidFill>
              </a:rPr>
              <a:t>Steffl</a:t>
            </a:r>
            <a:endParaRPr lang="de-DE" sz="700" dirty="0" smtClean="0">
              <a:solidFill>
                <a:srgbClr val="002060"/>
              </a:solidFill>
            </a:endParaRP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Rose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M. Müller</a:t>
            </a:r>
          </a:p>
        </p:txBody>
      </p:sp>
      <p:sp>
        <p:nvSpPr>
          <p:cNvPr id="32" name="Rechteck 31"/>
          <p:cNvSpPr/>
          <p:nvPr/>
        </p:nvSpPr>
        <p:spPr>
          <a:xfrm>
            <a:off x="5313040" y="4509120"/>
            <a:ext cx="688330" cy="307777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Herdt</a:t>
            </a:r>
          </a:p>
        </p:txBody>
      </p:sp>
      <p:sp>
        <p:nvSpPr>
          <p:cNvPr id="33" name="Rechteck 32"/>
          <p:cNvSpPr/>
          <p:nvPr/>
        </p:nvSpPr>
        <p:spPr>
          <a:xfrm>
            <a:off x="4480694" y="4509120"/>
            <a:ext cx="688330" cy="1061829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dirty="0" err="1" smtClean="0">
                <a:solidFill>
                  <a:srgbClr val="002060"/>
                </a:solidFill>
              </a:rPr>
              <a:t>Vrecl</a:t>
            </a:r>
            <a:endParaRPr lang="de-DE" sz="700" dirty="0" smtClean="0">
              <a:solidFill>
                <a:srgbClr val="002060"/>
              </a:solidFill>
            </a:endParaRP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Dreykorn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cker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b="1" dirty="0" err="1" smtClean="0">
                <a:solidFill>
                  <a:srgbClr val="002060"/>
                </a:solidFill>
              </a:rPr>
              <a:t>Kumara-singham</a:t>
            </a:r>
            <a:endParaRPr lang="de-DE" sz="700" b="1" dirty="0" smtClean="0">
              <a:solidFill>
                <a:srgbClr val="002060"/>
              </a:solidFill>
            </a:endParaRPr>
          </a:p>
        </p:txBody>
      </p:sp>
      <p:sp>
        <p:nvSpPr>
          <p:cNvPr id="34" name="Rechteck 33"/>
          <p:cNvSpPr/>
          <p:nvPr/>
        </p:nvSpPr>
        <p:spPr>
          <a:xfrm>
            <a:off x="6142676" y="4509120"/>
            <a:ext cx="688330" cy="1169551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dirty="0" err="1" smtClean="0">
                <a:solidFill>
                  <a:srgbClr val="002060"/>
                </a:solidFill>
              </a:rPr>
              <a:t>Steffl</a:t>
            </a:r>
            <a:endParaRPr lang="de-DE" sz="700" dirty="0" smtClean="0">
              <a:solidFill>
                <a:srgbClr val="002060"/>
              </a:solidFill>
            </a:endParaRP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Legner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Aichele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EWR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(Fuhrmann)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BTC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Krüger</a:t>
            </a:r>
          </a:p>
        </p:txBody>
      </p:sp>
      <p:sp>
        <p:nvSpPr>
          <p:cNvPr id="35" name="Rechteck 34"/>
          <p:cNvSpPr/>
          <p:nvPr/>
        </p:nvSpPr>
        <p:spPr>
          <a:xfrm>
            <a:off x="6975059" y="4509120"/>
            <a:ext cx="688330" cy="846386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K. Schmi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Aichele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</p:txBody>
      </p:sp>
      <p:sp>
        <p:nvSpPr>
          <p:cNvPr id="36" name="Rechteck 35"/>
          <p:cNvSpPr/>
          <p:nvPr/>
        </p:nvSpPr>
        <p:spPr>
          <a:xfrm>
            <a:off x="8634933" y="4501425"/>
            <a:ext cx="688330" cy="954107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K. Schmi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Aichele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dirty="0" err="1">
                <a:solidFill>
                  <a:srgbClr val="002060"/>
                </a:solidFill>
              </a:rPr>
              <a:t>Heueis</a:t>
            </a:r>
            <a:endParaRPr lang="de-DE" sz="700" dirty="0" smtClean="0">
              <a:solidFill>
                <a:srgbClr val="002060"/>
              </a:solidFill>
            </a:endParaRPr>
          </a:p>
        </p:txBody>
      </p:sp>
      <p:sp>
        <p:nvSpPr>
          <p:cNvPr id="38" name="Rechteck 37"/>
          <p:cNvSpPr/>
          <p:nvPr/>
        </p:nvSpPr>
        <p:spPr>
          <a:xfrm>
            <a:off x="7802587" y="4509120"/>
            <a:ext cx="688330" cy="1061829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K. Schmidt</a:t>
            </a:r>
          </a:p>
          <a:p>
            <a:r>
              <a:rPr lang="de-DE" sz="700" dirty="0" err="1" smtClean="0">
                <a:solidFill>
                  <a:srgbClr val="002060"/>
                </a:solidFill>
              </a:rPr>
              <a:t>Steffl</a:t>
            </a:r>
            <a:endParaRPr lang="de-DE" sz="700" dirty="0" smtClean="0">
              <a:solidFill>
                <a:srgbClr val="002060"/>
              </a:solidFill>
            </a:endParaRP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Pickford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Findeisen</a:t>
            </a:r>
          </a:p>
        </p:txBody>
      </p:sp>
      <p:sp>
        <p:nvSpPr>
          <p:cNvPr id="39" name="Rechteck 38"/>
          <p:cNvSpPr/>
          <p:nvPr/>
        </p:nvSpPr>
        <p:spPr>
          <a:xfrm>
            <a:off x="1169361" y="4524504"/>
            <a:ext cx="688330" cy="1169551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Regenbogen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Rose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M. Müller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Exter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nke</a:t>
            </a:r>
          </a:p>
        </p:txBody>
      </p:sp>
      <p:sp>
        <p:nvSpPr>
          <p:cNvPr id="17" name="Rechteck 16"/>
          <p:cNvSpPr/>
          <p:nvPr/>
        </p:nvSpPr>
        <p:spPr>
          <a:xfrm>
            <a:off x="2000672" y="4524504"/>
            <a:ext cx="688330" cy="846386"/>
          </a:xfrm>
          <a:prstGeom prst="rect">
            <a:avLst/>
          </a:prstGeom>
          <a:solidFill>
            <a:schemeClr val="bg1">
              <a:alpha val="36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tlCol="0" anchor="t">
            <a:spAutoFit/>
          </a:bodyPr>
          <a:lstStyle/>
          <a:p>
            <a:r>
              <a:rPr lang="de-DE" sz="700" u="sng" dirty="0" smtClean="0">
                <a:solidFill>
                  <a:srgbClr val="002060"/>
                </a:solidFill>
              </a:rPr>
              <a:t>e-netz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MDN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Herdt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RION</a:t>
            </a:r>
          </a:p>
          <a:p>
            <a:r>
              <a:rPr lang="de-DE" sz="700" b="1" dirty="0" smtClean="0">
                <a:solidFill>
                  <a:srgbClr val="002060"/>
                </a:solidFill>
              </a:rPr>
              <a:t>Rose</a:t>
            </a:r>
          </a:p>
          <a:p>
            <a:r>
              <a:rPr lang="de-DE" sz="700" u="sng" dirty="0" smtClean="0">
                <a:solidFill>
                  <a:srgbClr val="002060"/>
                </a:solidFill>
              </a:rPr>
              <a:t>Netz Leipzig</a:t>
            </a:r>
          </a:p>
          <a:p>
            <a:r>
              <a:rPr lang="de-DE" sz="700" dirty="0" smtClean="0">
                <a:solidFill>
                  <a:srgbClr val="002060"/>
                </a:solidFill>
              </a:rPr>
              <a:t>M. Müller</a:t>
            </a:r>
          </a:p>
        </p:txBody>
      </p:sp>
    </p:spTree>
    <p:extLst>
      <p:ext uri="{BB962C8B-B14F-4D97-AF65-F5344CB8AC3E}">
        <p14:creationId xmlns:p14="http://schemas.microsoft.com/office/powerpoint/2010/main" val="1866951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2400" dirty="0" smtClean="0"/>
              <a:t>Termine, Festlegungen, offene Punkt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6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564764" y="1736636"/>
            <a:ext cx="8780724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/>
              <a:t>Feststehende Termine:</a:t>
            </a:r>
          </a:p>
          <a:p>
            <a:r>
              <a:rPr lang="de-DE" dirty="0" smtClean="0"/>
              <a:t>23. Februar 2015 	10:00 </a:t>
            </a:r>
            <a:r>
              <a:rPr lang="de-DE" dirty="0"/>
              <a:t>– </a:t>
            </a:r>
            <a:r>
              <a:rPr lang="de-DE" dirty="0" smtClean="0"/>
              <a:t>12:00 </a:t>
            </a:r>
            <a:r>
              <a:rPr lang="de-DE" dirty="0"/>
              <a:t>Uhr: </a:t>
            </a:r>
            <a:r>
              <a:rPr lang="de-DE" dirty="0" smtClean="0"/>
              <a:t>TelKo zur Vorbereitung des A+Q Committee (Herdt)</a:t>
            </a:r>
            <a:endParaRPr lang="de-DE" dirty="0"/>
          </a:p>
          <a:p>
            <a:r>
              <a:rPr lang="de-DE" dirty="0" smtClean="0"/>
              <a:t>4. März 2015 	10:00 </a:t>
            </a:r>
            <a:r>
              <a:rPr lang="de-DE" dirty="0"/>
              <a:t>– 16:00 </a:t>
            </a:r>
            <a:r>
              <a:rPr lang="de-DE" dirty="0" smtClean="0"/>
              <a:t>Uhr: Treffen A+Q Committees in Darmstadt (K. Schmidt)</a:t>
            </a:r>
          </a:p>
          <a:p>
            <a:endParaRPr lang="de-DE" dirty="0" smtClean="0"/>
          </a:p>
          <a:p>
            <a:r>
              <a:rPr lang="de-DE" dirty="0" smtClean="0"/>
              <a:t>Festzulegende Termin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r Vorbereitung des </a:t>
            </a:r>
            <a:r>
              <a:rPr lang="de-DE" dirty="0" err="1" smtClean="0"/>
              <a:t>Product</a:t>
            </a:r>
            <a:r>
              <a:rPr lang="de-DE" dirty="0" smtClean="0"/>
              <a:t> </a:t>
            </a:r>
            <a:r>
              <a:rPr lang="de-DE" dirty="0" err="1" smtClean="0"/>
              <a:t>Backlog</a:t>
            </a:r>
            <a:r>
              <a:rPr lang="de-DE" dirty="0" smtClean="0"/>
              <a:t> - KW 7 – Darmstadt – Legner, Steffel, Pickfo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r die Erstellung </a:t>
            </a:r>
            <a:r>
              <a:rPr lang="de-DE" dirty="0" err="1"/>
              <a:t>Product</a:t>
            </a:r>
            <a:r>
              <a:rPr lang="de-DE" dirty="0"/>
              <a:t> </a:t>
            </a:r>
            <a:r>
              <a:rPr lang="de-DE" dirty="0" err="1" smtClean="0"/>
              <a:t>Backlog</a:t>
            </a:r>
            <a:r>
              <a:rPr lang="de-DE" dirty="0" smtClean="0"/>
              <a:t> und CIM / Daten Themen - KW 8 – Hamburg – BTC, 	Legner, </a:t>
            </a:r>
            <a:r>
              <a:rPr lang="de-DE" dirty="0" err="1" smtClean="0"/>
              <a:t>Steffl</a:t>
            </a:r>
            <a:r>
              <a:rPr lang="de-DE" dirty="0" smtClean="0"/>
              <a:t>, Pickford, Geist</a:t>
            </a:r>
          </a:p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as Arbeitspaket Q2 muss kurzfristig mit der Erstellung eines Guide Style begin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as </a:t>
            </a:r>
            <a:r>
              <a:rPr lang="de-DE" dirty="0" err="1" smtClean="0"/>
              <a:t>Steering</a:t>
            </a:r>
            <a:r>
              <a:rPr lang="de-DE" dirty="0" smtClean="0"/>
              <a:t> Committee muss die Frage klären: Wer bildet den Lenkungskreis für das Pilotprojekt</a:t>
            </a:r>
            <a:r>
              <a:rPr lang="de-DE" dirty="0" smtClean="0"/>
              <a:t>?</a:t>
            </a:r>
            <a:br>
              <a:rPr lang="de-DE" dirty="0" smtClean="0"/>
            </a:br>
            <a:r>
              <a:rPr lang="de-DE" dirty="0" smtClean="0"/>
              <a:t>Das </a:t>
            </a:r>
            <a:r>
              <a:rPr lang="de-DE" dirty="0" err="1" smtClean="0"/>
              <a:t>Steering</a:t>
            </a:r>
            <a:r>
              <a:rPr lang="de-DE" dirty="0" smtClean="0"/>
              <a:t> Committee legt am 6.2.15 fest: Lenkungskreis für das Pilotprojekt ist das </a:t>
            </a:r>
            <a:r>
              <a:rPr lang="de-DE" dirty="0" err="1" smtClean="0"/>
              <a:t>Steering</a:t>
            </a:r>
            <a:r>
              <a:rPr lang="de-DE" dirty="0" smtClean="0"/>
              <a:t> Committee (vgl. Protokoll vom 6.2.15)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Für das Pilotprojekt soll das </a:t>
            </a:r>
            <a:r>
              <a:rPr lang="de-DE" dirty="0" err="1" smtClean="0"/>
              <a:t>Scrum</a:t>
            </a:r>
            <a:r>
              <a:rPr lang="de-DE" dirty="0" smtClean="0"/>
              <a:t> Team tägliche Sitzungen vorsehen (ca. 15 Minut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as Pilotprojekt erhält den Namen „</a:t>
            </a:r>
            <a:r>
              <a:rPr lang="de-DE" dirty="0" err="1" smtClean="0"/>
              <a:t>openK</a:t>
            </a:r>
            <a:r>
              <a:rPr lang="de-DE" dirty="0" smtClean="0"/>
              <a:t> </a:t>
            </a:r>
            <a:r>
              <a:rPr lang="de-DE" dirty="0" err="1" smtClean="0"/>
              <a:t>Platform</a:t>
            </a:r>
            <a:r>
              <a:rPr lang="de-DE" dirty="0" smtClean="0"/>
              <a:t>“</a:t>
            </a:r>
          </a:p>
          <a:p>
            <a:endParaRPr lang="de-DE" dirty="0"/>
          </a:p>
          <a:p>
            <a:endParaRPr lang="de-DE" dirty="0" smtClean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5924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err="1" smtClean="0"/>
              <a:t>openK</a:t>
            </a:r>
            <a:r>
              <a:rPr lang="de-DE" dirty="0" smtClean="0"/>
              <a:t> </a:t>
            </a:r>
            <a:r>
              <a:rPr lang="de-DE" dirty="0" err="1" smtClean="0"/>
              <a:t>platform</a:t>
            </a:r>
            <a:r>
              <a:rPr lang="de-DE" dirty="0" smtClean="0"/>
              <a:t>: Architektur- &amp; Implementierungsprojekt</a:t>
            </a:r>
            <a:br>
              <a:rPr lang="de-DE" dirty="0" smtClean="0"/>
            </a:br>
            <a:r>
              <a:rPr lang="de-DE" dirty="0" smtClean="0"/>
              <a:t>Projektteam &amp; Projektorganisatio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323528" y="3068960"/>
            <a:ext cx="8568952" cy="25922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 sz="1400" dirty="0"/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4492526" y="3501008"/>
            <a:ext cx="1585812" cy="504019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 sz="1000" dirty="0">
              <a:cs typeface="Arial" pitchFamily="34" charset="0"/>
            </a:endParaRPr>
          </a:p>
          <a:p>
            <a:r>
              <a:rPr lang="de-DE" sz="1000" dirty="0" smtClean="0">
                <a:cs typeface="Arial" pitchFamily="34" charset="0"/>
              </a:rPr>
              <a:t>Architektur &amp; Entwicklung</a:t>
            </a:r>
          </a:p>
          <a:p>
            <a:r>
              <a:rPr lang="de-DE" sz="1000" dirty="0" smtClean="0">
                <a:cs typeface="Arial" pitchFamily="34" charset="0"/>
              </a:rPr>
              <a:t>Jan Krüger</a:t>
            </a:r>
            <a:endParaRPr lang="de-DE" sz="1000" dirty="0">
              <a:cs typeface="Arial" pitchFamily="34" charset="0"/>
            </a:endParaRPr>
          </a:p>
          <a:p>
            <a:endParaRPr lang="de-DE" sz="1000" dirty="0">
              <a:cs typeface="Arial" pitchFamily="34" charset="0"/>
            </a:endParaRPr>
          </a:p>
        </p:txBody>
      </p:sp>
      <p:cxnSp>
        <p:nvCxnSpPr>
          <p:cNvPr id="9" name="Gerade Verbindung 10"/>
          <p:cNvCxnSpPr>
            <a:cxnSpLocks noChangeShapeType="1"/>
          </p:cNvCxnSpPr>
          <p:nvPr/>
        </p:nvCxnSpPr>
        <p:spPr bwMode="auto">
          <a:xfrm>
            <a:off x="2476302" y="4009380"/>
            <a:ext cx="0" cy="1250017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Gerade Verbindung mit Pfeil 9"/>
          <p:cNvCxnSpPr/>
          <p:nvPr/>
        </p:nvCxnSpPr>
        <p:spPr>
          <a:xfrm>
            <a:off x="2705025" y="3932386"/>
            <a:ext cx="433388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/>
        </p:nvSpPr>
        <p:spPr bwMode="auto">
          <a:xfrm>
            <a:off x="4160912" y="6093296"/>
            <a:ext cx="2088232" cy="5760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/>
          </a:p>
        </p:txBody>
      </p:sp>
      <p:sp>
        <p:nvSpPr>
          <p:cNvPr id="12" name="Textfeld 36"/>
          <p:cNvSpPr txBox="1">
            <a:spLocks noChangeArrowheads="1"/>
          </p:cNvSpPr>
          <p:nvPr/>
        </p:nvSpPr>
        <p:spPr bwMode="auto">
          <a:xfrm>
            <a:off x="4182180" y="6093296"/>
            <a:ext cx="206696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000" dirty="0" smtClean="0">
                <a:cs typeface="Arial" pitchFamily="34" charset="0"/>
              </a:rPr>
              <a:t>Matthias Rohr MAM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de-DE" sz="1000" dirty="0" smtClean="0">
                <a:cs typeface="Arial" pitchFamily="34" charset="0"/>
              </a:rPr>
              <a:t>Unterstützung Anforderungen</a:t>
            </a:r>
            <a:br>
              <a:rPr lang="de-DE" sz="1000" dirty="0" smtClean="0">
                <a:cs typeface="Arial" pitchFamily="34" charset="0"/>
              </a:rPr>
            </a:br>
            <a:r>
              <a:rPr lang="de-DE" sz="1000" dirty="0" smtClean="0">
                <a:cs typeface="Arial" pitchFamily="34" charset="0"/>
              </a:rPr>
              <a:t>u. fachliche Konzeption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323528" y="1699938"/>
            <a:ext cx="5137150" cy="7929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de-DE" sz="1400" dirty="0"/>
          </a:p>
        </p:txBody>
      </p:sp>
      <p:sp>
        <p:nvSpPr>
          <p:cNvPr id="14" name="Textfeld 41"/>
          <p:cNvSpPr txBox="1">
            <a:spLocks noChangeArrowheads="1"/>
          </p:cNvSpPr>
          <p:nvPr/>
        </p:nvSpPr>
        <p:spPr bwMode="auto">
          <a:xfrm>
            <a:off x="324074" y="1699937"/>
            <a:ext cx="302433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200" dirty="0" smtClean="0">
                <a:cs typeface="Arial" pitchFamily="34" charset="0"/>
              </a:rPr>
              <a:t>Lenkungsausschuss</a:t>
            </a:r>
          </a:p>
          <a:p>
            <a:pPr eaLnBrk="1" hangingPunct="1"/>
            <a:r>
              <a:rPr lang="de-DE" sz="1000" dirty="0" smtClean="0">
                <a:cs typeface="Arial" pitchFamily="34" charset="0"/>
              </a:rPr>
              <a:t>BTC:</a:t>
            </a:r>
            <a:br>
              <a:rPr lang="de-DE" sz="1000" dirty="0" smtClean="0">
                <a:cs typeface="Arial" pitchFamily="34" charset="0"/>
              </a:rPr>
            </a:br>
            <a:r>
              <a:rPr lang="de-DE" sz="1000" dirty="0" smtClean="0">
                <a:cs typeface="Arial" pitchFamily="34" charset="0"/>
              </a:rPr>
              <a:t>Peter Hamann, Karsten Meister / Helmut Lorek</a:t>
            </a:r>
            <a:br>
              <a:rPr lang="de-DE" sz="1000" dirty="0" smtClean="0">
                <a:cs typeface="Arial" pitchFamily="34" charset="0"/>
              </a:rPr>
            </a:br>
            <a:endParaRPr lang="de-DE" sz="1000" dirty="0">
              <a:cs typeface="Arial" pitchFamily="34" charset="0"/>
            </a:endParaRPr>
          </a:p>
        </p:txBody>
      </p:sp>
      <p:cxnSp>
        <p:nvCxnSpPr>
          <p:cNvPr id="15" name="Gerade Verbindung mit Pfeil 14"/>
          <p:cNvCxnSpPr/>
          <p:nvPr/>
        </p:nvCxnSpPr>
        <p:spPr>
          <a:xfrm flipV="1">
            <a:off x="1331640" y="2486406"/>
            <a:ext cx="0" cy="1005984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41"/>
          <p:cNvSpPr txBox="1">
            <a:spLocks noChangeArrowheads="1"/>
          </p:cNvSpPr>
          <p:nvPr/>
        </p:nvSpPr>
        <p:spPr bwMode="auto">
          <a:xfrm>
            <a:off x="3563888" y="1699937"/>
            <a:ext cx="181900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de-DE" sz="1200" dirty="0" smtClean="0">
              <a:cs typeface="Arial" pitchFamily="34" charset="0"/>
            </a:endParaRPr>
          </a:p>
          <a:p>
            <a:pPr eaLnBrk="1" hangingPunct="1"/>
            <a:r>
              <a:rPr lang="de-DE" sz="1000" dirty="0" err="1" smtClean="0">
                <a:cs typeface="Arial" pitchFamily="34" charset="0"/>
              </a:rPr>
              <a:t>openKONSEQUENZ</a:t>
            </a:r>
            <a:r>
              <a:rPr lang="de-DE" sz="1000" dirty="0" smtClean="0">
                <a:cs typeface="Arial" pitchFamily="34" charset="0"/>
              </a:rPr>
              <a:t>:</a:t>
            </a:r>
            <a:br>
              <a:rPr lang="de-DE" sz="1000" dirty="0" smtClean="0">
                <a:cs typeface="Arial" pitchFamily="34" charset="0"/>
              </a:rPr>
            </a:br>
            <a:r>
              <a:rPr lang="de-DE" sz="1000" dirty="0" smtClean="0">
                <a:cs typeface="Arial" pitchFamily="34" charset="0"/>
              </a:rPr>
              <a:t>N.N.</a:t>
            </a:r>
            <a:br>
              <a:rPr lang="de-DE" sz="1000" dirty="0" smtClean="0">
                <a:cs typeface="Arial" pitchFamily="34" charset="0"/>
              </a:rPr>
            </a:br>
            <a:endParaRPr lang="de-DE" sz="1000" dirty="0">
              <a:cs typeface="Arial" pitchFamily="34" charset="0"/>
            </a:endParaRPr>
          </a:p>
        </p:txBody>
      </p:sp>
      <p:sp>
        <p:nvSpPr>
          <p:cNvPr id="17" name="Textfeld 41"/>
          <p:cNvSpPr txBox="1">
            <a:spLocks noChangeArrowheads="1"/>
          </p:cNvSpPr>
          <p:nvPr/>
        </p:nvSpPr>
        <p:spPr bwMode="auto">
          <a:xfrm>
            <a:off x="323528" y="3068090"/>
            <a:ext cx="108012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de-DE" sz="1200" dirty="0" smtClean="0">
                <a:cs typeface="Arial" pitchFamily="34" charset="0"/>
              </a:rPr>
              <a:t>Projektteam</a:t>
            </a:r>
          </a:p>
        </p:txBody>
      </p:sp>
      <p:cxnSp>
        <p:nvCxnSpPr>
          <p:cNvPr id="18" name="Gerade Verbindung mit Pfeil 17"/>
          <p:cNvCxnSpPr/>
          <p:nvPr/>
        </p:nvCxnSpPr>
        <p:spPr>
          <a:xfrm flipV="1">
            <a:off x="4285388" y="5661248"/>
            <a:ext cx="0" cy="432048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2411760" y="3501045"/>
            <a:ext cx="1512168" cy="504019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 sz="1000" dirty="0">
              <a:cs typeface="Arial" pitchFamily="34" charset="0"/>
            </a:endParaRPr>
          </a:p>
          <a:p>
            <a:r>
              <a:rPr lang="de-DE" sz="1000" dirty="0" smtClean="0">
                <a:cs typeface="Arial" pitchFamily="34" charset="0"/>
              </a:rPr>
              <a:t>Entwicklung</a:t>
            </a:r>
          </a:p>
          <a:p>
            <a:r>
              <a:rPr lang="de-DE" sz="1000" dirty="0" smtClean="0">
                <a:cs typeface="Arial" pitchFamily="34" charset="0"/>
              </a:rPr>
              <a:t>Stefan Brockmann</a:t>
            </a:r>
            <a:endParaRPr lang="de-DE" sz="1000" dirty="0">
              <a:cs typeface="Arial" pitchFamily="34" charset="0"/>
            </a:endParaRPr>
          </a:p>
          <a:p>
            <a:endParaRPr lang="de-DE" sz="1000" dirty="0">
              <a:cs typeface="Arial" pitchFamily="34" charset="0"/>
            </a:endParaRPr>
          </a:p>
        </p:txBody>
      </p:sp>
      <p:cxnSp>
        <p:nvCxnSpPr>
          <p:cNvPr id="20" name="Gerade Verbindung 10"/>
          <p:cNvCxnSpPr>
            <a:cxnSpLocks noChangeShapeType="1"/>
          </p:cNvCxnSpPr>
          <p:nvPr/>
        </p:nvCxnSpPr>
        <p:spPr bwMode="auto">
          <a:xfrm>
            <a:off x="4644008" y="4005027"/>
            <a:ext cx="0" cy="1482008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feld 20"/>
          <p:cNvSpPr txBox="1">
            <a:spLocks noChangeArrowheads="1"/>
          </p:cNvSpPr>
          <p:nvPr/>
        </p:nvSpPr>
        <p:spPr bwMode="auto">
          <a:xfrm>
            <a:off x="4932040" y="4550931"/>
            <a:ext cx="17287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Architektur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22" name="Textfeld 21"/>
          <p:cNvSpPr txBox="1">
            <a:spLocks noChangeArrowheads="1"/>
          </p:cNvSpPr>
          <p:nvPr/>
        </p:nvSpPr>
        <p:spPr bwMode="auto">
          <a:xfrm>
            <a:off x="4932040" y="4797152"/>
            <a:ext cx="216083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err="1" smtClean="0">
                <a:cs typeface="Arial" pitchFamily="34" charset="0"/>
              </a:rPr>
              <a:t>Eclipse</a:t>
            </a:r>
            <a:r>
              <a:rPr lang="de-DE" sz="1000" dirty="0" smtClean="0">
                <a:cs typeface="Arial" pitchFamily="34" charset="0"/>
              </a:rPr>
              <a:t> Project Lead &amp; </a:t>
            </a:r>
            <a:r>
              <a:rPr lang="de-DE" sz="1000" dirty="0" err="1" smtClean="0">
                <a:cs typeface="Arial" pitchFamily="34" charset="0"/>
              </a:rPr>
              <a:t>Committer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23" name="Textfeld 22"/>
          <p:cNvSpPr txBox="1">
            <a:spLocks noChangeArrowheads="1"/>
          </p:cNvSpPr>
          <p:nvPr/>
        </p:nvSpPr>
        <p:spPr bwMode="auto">
          <a:xfrm>
            <a:off x="4932040" y="5085184"/>
            <a:ext cx="23768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err="1" smtClean="0">
                <a:cs typeface="Arial" pitchFamily="34" charset="0"/>
              </a:rPr>
              <a:t>Eclipse</a:t>
            </a:r>
            <a:r>
              <a:rPr lang="de-DE" sz="1000" dirty="0" smtClean="0">
                <a:cs typeface="Arial" pitchFamily="34" charset="0"/>
              </a:rPr>
              <a:t> Architektur- und QS-Board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auto">
          <a:xfrm>
            <a:off x="475010" y="3492390"/>
            <a:ext cx="1497236" cy="504019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 sz="1000" dirty="0">
              <a:cs typeface="Arial" pitchFamily="34" charset="0"/>
            </a:endParaRPr>
          </a:p>
          <a:p>
            <a:r>
              <a:rPr lang="de-DE" sz="1000" dirty="0" smtClean="0">
                <a:cs typeface="Arial" pitchFamily="34" charset="0"/>
              </a:rPr>
              <a:t>Projektleitung</a:t>
            </a:r>
            <a:br>
              <a:rPr lang="de-DE" sz="1000" dirty="0" smtClean="0">
                <a:cs typeface="Arial" pitchFamily="34" charset="0"/>
              </a:rPr>
            </a:br>
            <a:r>
              <a:rPr lang="de-DE" sz="1000" dirty="0" smtClean="0">
                <a:cs typeface="Arial" pitchFamily="34" charset="0"/>
              </a:rPr>
              <a:t>&amp; Anforderungen</a:t>
            </a:r>
          </a:p>
          <a:p>
            <a:r>
              <a:rPr lang="de-DE" sz="1000" dirty="0" smtClean="0">
                <a:cs typeface="Arial" pitchFamily="34" charset="0"/>
              </a:rPr>
              <a:t>Heike Lüschen</a:t>
            </a:r>
            <a:endParaRPr lang="de-DE" sz="1000" dirty="0">
              <a:cs typeface="Arial" pitchFamily="34" charset="0"/>
            </a:endParaRPr>
          </a:p>
          <a:p>
            <a:endParaRPr lang="de-DE" sz="1000" dirty="0">
              <a:cs typeface="Arial" pitchFamily="34" charset="0"/>
            </a:endParaRPr>
          </a:p>
        </p:txBody>
      </p:sp>
      <p:sp>
        <p:nvSpPr>
          <p:cNvPr id="25" name="Rectangle 6"/>
          <p:cNvSpPr>
            <a:spLocks noChangeArrowheads="1"/>
          </p:cNvSpPr>
          <p:nvPr/>
        </p:nvSpPr>
        <p:spPr bwMode="auto">
          <a:xfrm>
            <a:off x="6876256" y="3501008"/>
            <a:ext cx="1432694" cy="504019"/>
          </a:xfrm>
          <a:prstGeom prst="rect">
            <a:avLst/>
          </a:prstGeom>
          <a:solidFill>
            <a:schemeClr val="bg2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de-DE" sz="1000" dirty="0">
              <a:cs typeface="Arial" pitchFamily="34" charset="0"/>
            </a:endParaRPr>
          </a:p>
          <a:p>
            <a:r>
              <a:rPr lang="de-DE" sz="1000" dirty="0" smtClean="0">
                <a:cs typeface="Arial" pitchFamily="34" charset="0"/>
              </a:rPr>
              <a:t>CIM-Spezialist</a:t>
            </a:r>
          </a:p>
          <a:p>
            <a:r>
              <a:rPr lang="de-DE" sz="1000" dirty="0" smtClean="0">
                <a:cs typeface="Arial" pitchFamily="34" charset="0"/>
              </a:rPr>
              <a:t>Michael </a:t>
            </a:r>
            <a:r>
              <a:rPr lang="de-DE" sz="1000" dirty="0" err="1" smtClean="0">
                <a:cs typeface="Arial" pitchFamily="34" charset="0"/>
              </a:rPr>
              <a:t>Gründler</a:t>
            </a:r>
            <a:endParaRPr lang="de-DE" sz="1000" dirty="0">
              <a:cs typeface="Arial" pitchFamily="34" charset="0"/>
            </a:endParaRPr>
          </a:p>
          <a:p>
            <a:endParaRPr lang="de-DE" sz="1000" dirty="0">
              <a:cs typeface="Arial" pitchFamily="34" charset="0"/>
            </a:endParaRPr>
          </a:p>
        </p:txBody>
      </p:sp>
      <p:cxnSp>
        <p:nvCxnSpPr>
          <p:cNvPr id="26" name="Gerade Verbindung mit Pfeil 25"/>
          <p:cNvCxnSpPr/>
          <p:nvPr/>
        </p:nvCxnSpPr>
        <p:spPr>
          <a:xfrm>
            <a:off x="2476302" y="4354438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2"/>
          <p:cNvSpPr txBox="1">
            <a:spLocks noChangeArrowheads="1"/>
          </p:cNvSpPr>
          <p:nvPr/>
        </p:nvSpPr>
        <p:spPr bwMode="auto">
          <a:xfrm>
            <a:off x="2764334" y="4149080"/>
            <a:ext cx="184849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Entwicklung: Java, Web-Technologien &amp; Service Bus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28" name="Textfeld 22"/>
          <p:cNvSpPr txBox="1">
            <a:spLocks noChangeArrowheads="1"/>
          </p:cNvSpPr>
          <p:nvPr/>
        </p:nvSpPr>
        <p:spPr bwMode="auto">
          <a:xfrm>
            <a:off x="2764334" y="4551079"/>
            <a:ext cx="151963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QS Entwicklung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29" name="Textfeld 22"/>
          <p:cNvSpPr txBox="1">
            <a:spLocks noChangeArrowheads="1"/>
          </p:cNvSpPr>
          <p:nvPr/>
        </p:nvSpPr>
        <p:spPr bwMode="auto">
          <a:xfrm>
            <a:off x="2764334" y="4746744"/>
            <a:ext cx="136068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Konfigurations- u. </a:t>
            </a:r>
            <a:r>
              <a:rPr lang="de-DE" sz="1000" dirty="0" err="1" smtClean="0">
                <a:cs typeface="Arial" pitchFamily="34" charset="0"/>
              </a:rPr>
              <a:t>Buildmanager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30" name="Gerade Verbindung 10"/>
          <p:cNvCxnSpPr>
            <a:cxnSpLocks noChangeShapeType="1"/>
          </p:cNvCxnSpPr>
          <p:nvPr/>
        </p:nvCxnSpPr>
        <p:spPr bwMode="auto">
          <a:xfrm>
            <a:off x="532086" y="3996409"/>
            <a:ext cx="0" cy="1274602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 Verbindung mit Pfeil 30"/>
          <p:cNvCxnSpPr/>
          <p:nvPr/>
        </p:nvCxnSpPr>
        <p:spPr>
          <a:xfrm>
            <a:off x="532086" y="4663009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22"/>
          <p:cNvSpPr txBox="1">
            <a:spLocks noChangeArrowheads="1"/>
          </p:cNvSpPr>
          <p:nvPr/>
        </p:nvSpPr>
        <p:spPr bwMode="auto">
          <a:xfrm>
            <a:off x="820118" y="4478923"/>
            <a:ext cx="1512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Last- und Einspeisemanagement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33" name="Gerade Verbindung mit Pfeil 32"/>
          <p:cNvCxnSpPr/>
          <p:nvPr/>
        </p:nvCxnSpPr>
        <p:spPr>
          <a:xfrm>
            <a:off x="532086" y="4982979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22"/>
          <p:cNvSpPr txBox="1">
            <a:spLocks noChangeArrowheads="1"/>
          </p:cNvSpPr>
          <p:nvPr/>
        </p:nvSpPr>
        <p:spPr bwMode="auto">
          <a:xfrm>
            <a:off x="820118" y="4838963"/>
            <a:ext cx="115212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Netzleittechnik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35" name="Gerade Verbindung 10"/>
          <p:cNvCxnSpPr>
            <a:cxnSpLocks noChangeShapeType="1"/>
          </p:cNvCxnSpPr>
          <p:nvPr/>
        </p:nvCxnSpPr>
        <p:spPr bwMode="auto">
          <a:xfrm>
            <a:off x="7276256" y="4005064"/>
            <a:ext cx="0" cy="833899"/>
          </a:xfrm>
          <a:prstGeom prst="line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Gerade Verbindung mit Pfeil 35"/>
          <p:cNvCxnSpPr/>
          <p:nvPr/>
        </p:nvCxnSpPr>
        <p:spPr>
          <a:xfrm>
            <a:off x="7276256" y="4221088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22"/>
          <p:cNvSpPr txBox="1">
            <a:spLocks noChangeArrowheads="1"/>
          </p:cNvSpPr>
          <p:nvPr/>
        </p:nvSpPr>
        <p:spPr bwMode="auto">
          <a:xfrm>
            <a:off x="7516862" y="4108545"/>
            <a:ext cx="600646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CIM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38" name="Gerade Verbindung mit Pfeil 37"/>
          <p:cNvCxnSpPr/>
          <p:nvPr/>
        </p:nvCxnSpPr>
        <p:spPr>
          <a:xfrm>
            <a:off x="2476302" y="4653284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/>
          <p:nvPr/>
        </p:nvCxnSpPr>
        <p:spPr>
          <a:xfrm>
            <a:off x="2476302" y="4941168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mit Pfeil 39"/>
          <p:cNvCxnSpPr/>
          <p:nvPr/>
        </p:nvCxnSpPr>
        <p:spPr>
          <a:xfrm>
            <a:off x="539552" y="4376718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22"/>
          <p:cNvSpPr txBox="1">
            <a:spLocks noChangeArrowheads="1"/>
          </p:cNvSpPr>
          <p:nvPr/>
        </p:nvSpPr>
        <p:spPr bwMode="auto">
          <a:xfrm>
            <a:off x="820118" y="4232702"/>
            <a:ext cx="14401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Anforderungsmanager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42" name="Gerade Verbindung mit Pfeil 41"/>
          <p:cNvCxnSpPr/>
          <p:nvPr/>
        </p:nvCxnSpPr>
        <p:spPr>
          <a:xfrm>
            <a:off x="539552" y="5271011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22"/>
          <p:cNvSpPr txBox="1">
            <a:spLocks noChangeArrowheads="1"/>
          </p:cNvSpPr>
          <p:nvPr/>
        </p:nvSpPr>
        <p:spPr bwMode="auto">
          <a:xfrm>
            <a:off x="820118" y="5126995"/>
            <a:ext cx="144016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Testmanager &amp; QS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44" name="Gerade Verbindung mit Pfeil 43"/>
          <p:cNvCxnSpPr/>
          <p:nvPr/>
        </p:nvCxnSpPr>
        <p:spPr>
          <a:xfrm>
            <a:off x="4644008" y="4348281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feld 22"/>
          <p:cNvSpPr txBox="1">
            <a:spLocks noChangeArrowheads="1"/>
          </p:cNvSpPr>
          <p:nvPr/>
        </p:nvSpPr>
        <p:spPr bwMode="auto">
          <a:xfrm>
            <a:off x="4932040" y="4149080"/>
            <a:ext cx="184849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Entwicklung: Java, Web-Technologien &amp; Service Bus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46" name="Gerade Verbindung mit Pfeil 45"/>
          <p:cNvCxnSpPr/>
          <p:nvPr/>
        </p:nvCxnSpPr>
        <p:spPr>
          <a:xfrm>
            <a:off x="4644008" y="4653136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>
            <a:off x="4644008" y="4941168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mit Pfeil 47"/>
          <p:cNvCxnSpPr/>
          <p:nvPr/>
        </p:nvCxnSpPr>
        <p:spPr>
          <a:xfrm>
            <a:off x="4644008" y="5229200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mit Pfeil 48"/>
          <p:cNvCxnSpPr/>
          <p:nvPr/>
        </p:nvCxnSpPr>
        <p:spPr>
          <a:xfrm>
            <a:off x="7276256" y="4518993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22"/>
          <p:cNvSpPr txBox="1">
            <a:spLocks noChangeArrowheads="1"/>
          </p:cNvSpPr>
          <p:nvPr/>
        </p:nvSpPr>
        <p:spPr bwMode="auto">
          <a:xfrm>
            <a:off x="7516862" y="4334907"/>
            <a:ext cx="151216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Last- und Einspeisemanagement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51" name="Gerade Verbindung mit Pfeil 50"/>
          <p:cNvCxnSpPr/>
          <p:nvPr/>
        </p:nvCxnSpPr>
        <p:spPr>
          <a:xfrm>
            <a:off x="7276256" y="4838963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22"/>
          <p:cNvSpPr txBox="1">
            <a:spLocks noChangeArrowheads="1"/>
          </p:cNvSpPr>
          <p:nvPr/>
        </p:nvSpPr>
        <p:spPr bwMode="auto">
          <a:xfrm>
            <a:off x="7516862" y="4694947"/>
            <a:ext cx="115212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Netzleittechnik</a:t>
            </a:r>
            <a:endParaRPr lang="de-DE" sz="1000" dirty="0">
              <a:cs typeface="Arial" pitchFamily="34" charset="0"/>
            </a:endParaRPr>
          </a:p>
        </p:txBody>
      </p:sp>
      <p:sp>
        <p:nvSpPr>
          <p:cNvPr id="53" name="Textfeld 22"/>
          <p:cNvSpPr txBox="1">
            <a:spLocks noChangeArrowheads="1"/>
          </p:cNvSpPr>
          <p:nvPr/>
        </p:nvSpPr>
        <p:spPr bwMode="auto">
          <a:xfrm>
            <a:off x="2771800" y="5157192"/>
            <a:ext cx="151963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err="1" smtClean="0">
                <a:cs typeface="Arial" pitchFamily="34" charset="0"/>
              </a:rPr>
              <a:t>Eclipse</a:t>
            </a:r>
            <a:r>
              <a:rPr lang="de-DE" sz="1000" dirty="0" smtClean="0">
                <a:cs typeface="Arial" pitchFamily="34" charset="0"/>
              </a:rPr>
              <a:t> </a:t>
            </a:r>
            <a:r>
              <a:rPr lang="de-DE" sz="1000" dirty="0" err="1" smtClean="0">
                <a:cs typeface="Arial" pitchFamily="34" charset="0"/>
              </a:rPr>
              <a:t>Committer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54" name="Gerade Verbindung mit Pfeil 53"/>
          <p:cNvCxnSpPr/>
          <p:nvPr/>
        </p:nvCxnSpPr>
        <p:spPr>
          <a:xfrm>
            <a:off x="2483768" y="5259397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22"/>
          <p:cNvSpPr txBox="1">
            <a:spLocks noChangeArrowheads="1"/>
          </p:cNvSpPr>
          <p:nvPr/>
        </p:nvSpPr>
        <p:spPr bwMode="auto">
          <a:xfrm>
            <a:off x="4932040" y="5343019"/>
            <a:ext cx="237685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/>
            <a:r>
              <a:rPr lang="de-DE" sz="1000" dirty="0" smtClean="0">
                <a:cs typeface="Arial" pitchFamily="34" charset="0"/>
              </a:rPr>
              <a:t>Projektplanung</a:t>
            </a:r>
            <a:endParaRPr lang="de-DE" sz="1000" dirty="0">
              <a:cs typeface="Arial" pitchFamily="34" charset="0"/>
            </a:endParaRPr>
          </a:p>
        </p:txBody>
      </p:sp>
      <p:cxnSp>
        <p:nvCxnSpPr>
          <p:cNvPr id="56" name="Gerade Verbindung mit Pfeil 55"/>
          <p:cNvCxnSpPr/>
          <p:nvPr/>
        </p:nvCxnSpPr>
        <p:spPr>
          <a:xfrm>
            <a:off x="4644008" y="5487035"/>
            <a:ext cx="288032" cy="0"/>
          </a:xfrm>
          <a:prstGeom prst="straightConnector1">
            <a:avLst/>
          </a:prstGeom>
          <a:ln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9820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/>
      <p:bldP spid="1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crum</a:t>
            </a:r>
            <a:r>
              <a:rPr lang="de-DE" dirty="0" smtClean="0"/>
              <a:t>: Begriffe und Roll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568388" y="1628800"/>
            <a:ext cx="7920037" cy="46085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>
                    <a:tint val="75000"/>
                  </a:schemeClr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de-DE" sz="1600" dirty="0" err="1" smtClean="0"/>
              <a:t>Product</a:t>
            </a:r>
            <a:r>
              <a:rPr lang="de-DE" sz="1600" dirty="0" smtClean="0"/>
              <a:t> </a:t>
            </a:r>
            <a:r>
              <a:rPr lang="de-DE" sz="1600" dirty="0" err="1" smtClean="0"/>
              <a:t>Owner</a:t>
            </a:r>
            <a:endParaRPr lang="de-DE" sz="1600" dirty="0" smtClean="0"/>
          </a:p>
          <a:p>
            <a:pPr marL="271462" lvl="2"/>
            <a:r>
              <a:rPr lang="de-DE" dirty="0" smtClean="0"/>
              <a:t>Definition der Anforderungen</a:t>
            </a:r>
            <a:br>
              <a:rPr lang="de-DE" dirty="0" smtClean="0"/>
            </a:br>
            <a:r>
              <a:rPr lang="de-DE" b="1" dirty="0" err="1" smtClean="0"/>
              <a:t>Product</a:t>
            </a:r>
            <a:r>
              <a:rPr lang="de-DE" b="1" dirty="0" smtClean="0"/>
              <a:t> </a:t>
            </a:r>
            <a:r>
              <a:rPr lang="de-DE" b="1" dirty="0" err="1" smtClean="0"/>
              <a:t>Backlog</a:t>
            </a:r>
            <a:r>
              <a:rPr lang="de-DE" dirty="0" smtClean="0"/>
              <a:t> ~ Anforderungsliste des Gesamtprojekts</a:t>
            </a:r>
          </a:p>
          <a:p>
            <a:r>
              <a:rPr lang="de-DE" sz="1600" dirty="0" smtClean="0"/>
              <a:t>Sprints</a:t>
            </a:r>
          </a:p>
          <a:p>
            <a:pPr marL="271462" lvl="2"/>
            <a:r>
              <a:rPr lang="de-DE" dirty="0" smtClean="0">
                <a:solidFill>
                  <a:srgbClr val="000000"/>
                </a:solidFill>
              </a:rPr>
              <a:t>Entwicklungsiteration ~ Fokus der nächsten Iteration, feiner ausgeplant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Das Team erstellt die Sprint Planung und definiert das </a:t>
            </a:r>
            <a:br>
              <a:rPr lang="de-DE" dirty="0" smtClean="0"/>
            </a:br>
            <a:r>
              <a:rPr lang="de-DE" b="1" dirty="0" smtClean="0"/>
              <a:t>Sprint </a:t>
            </a:r>
            <a:r>
              <a:rPr lang="de-DE" b="1" dirty="0" err="1" smtClean="0"/>
              <a:t>Backlog</a:t>
            </a:r>
            <a:r>
              <a:rPr lang="de-DE" dirty="0" smtClean="0"/>
              <a:t> </a:t>
            </a:r>
            <a:r>
              <a:rPr lang="de-DE" dirty="0" smtClean="0">
                <a:solidFill>
                  <a:srgbClr val="000000"/>
                </a:solidFill>
              </a:rPr>
              <a:t>~ Fokus der nächsten Iteration, feiner ausgeplant</a:t>
            </a:r>
            <a:endParaRPr lang="de-DE" dirty="0" smtClean="0"/>
          </a:p>
          <a:p>
            <a:r>
              <a:rPr lang="de-DE" sz="1600" dirty="0" smtClean="0"/>
              <a:t>Daily </a:t>
            </a:r>
            <a:r>
              <a:rPr lang="de-DE" sz="1600" dirty="0" err="1" smtClean="0"/>
              <a:t>Scrum</a:t>
            </a:r>
            <a:endParaRPr lang="de-DE" sz="1600" dirty="0" smtClean="0"/>
          </a:p>
          <a:p>
            <a:pPr marL="271462" lvl="2"/>
            <a:r>
              <a:rPr lang="de-DE" dirty="0" smtClean="0"/>
              <a:t>Das Team trifft sich täglich per Telefon/Kamera.</a:t>
            </a:r>
            <a:br>
              <a:rPr lang="de-DE" dirty="0" smtClean="0"/>
            </a:br>
            <a:r>
              <a:rPr lang="de-DE" dirty="0" smtClean="0"/>
              <a:t>Jedes Team Mitglied beantwortet die folgenden Fragen:</a:t>
            </a:r>
            <a:br>
              <a:rPr lang="de-DE" dirty="0" smtClean="0"/>
            </a:br>
            <a:r>
              <a:rPr lang="de-DE" dirty="0" smtClean="0"/>
              <a:t>- An welchen Themen habe ich seit dem letzten Daily </a:t>
            </a:r>
            <a:r>
              <a:rPr lang="de-DE" dirty="0" err="1" smtClean="0"/>
              <a:t>Scrum</a:t>
            </a:r>
            <a:r>
              <a:rPr lang="de-DE" dirty="0" smtClean="0"/>
              <a:t> gearbeitet?</a:t>
            </a:r>
            <a:br>
              <a:rPr lang="de-DE" dirty="0" smtClean="0"/>
            </a:br>
            <a:r>
              <a:rPr lang="de-DE" dirty="0" smtClean="0"/>
              <a:t>- An welchen Themen werde ich bis zum nächsten Daily </a:t>
            </a:r>
            <a:r>
              <a:rPr lang="de-DE" dirty="0" err="1" smtClean="0"/>
              <a:t>Scrum</a:t>
            </a:r>
            <a:r>
              <a:rPr lang="de-DE" dirty="0" smtClean="0"/>
              <a:t> arbeiten?</a:t>
            </a:r>
            <a:br>
              <a:rPr lang="de-DE" dirty="0" smtClean="0"/>
            </a:br>
            <a:r>
              <a:rPr lang="de-DE" dirty="0" smtClean="0"/>
              <a:t>- Welche Blocker behindern meine Arbeit?</a:t>
            </a:r>
          </a:p>
          <a:p>
            <a:r>
              <a:rPr lang="de-DE" sz="1600" dirty="0" err="1" smtClean="0"/>
              <a:t>Scrum</a:t>
            </a:r>
            <a:r>
              <a:rPr lang="de-DE" sz="1600" dirty="0" smtClean="0"/>
              <a:t> Master</a:t>
            </a:r>
          </a:p>
          <a:p>
            <a:pPr marL="271462" lvl="2"/>
            <a:r>
              <a:rPr lang="de-DE" dirty="0" smtClean="0"/>
              <a:t>- </a:t>
            </a:r>
            <a:r>
              <a:rPr lang="de-DE" dirty="0" err="1" smtClean="0"/>
              <a:t>keep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project</a:t>
            </a:r>
            <a:r>
              <a:rPr lang="de-DE" dirty="0" smtClean="0"/>
              <a:t> </a:t>
            </a:r>
            <a:r>
              <a:rPr lang="de-DE" dirty="0" err="1" smtClean="0"/>
              <a:t>rolling</a:t>
            </a:r>
            <a:r>
              <a:rPr lang="de-DE" dirty="0" smtClean="0"/>
              <a:t>!</a:t>
            </a:r>
            <a:br>
              <a:rPr lang="de-DE" dirty="0" smtClean="0"/>
            </a:br>
            <a:r>
              <a:rPr lang="de-DE" dirty="0" smtClean="0"/>
              <a:t>- Demo der ausgelieferten Software</a:t>
            </a:r>
            <a:br>
              <a:rPr lang="de-DE" dirty="0" smtClean="0"/>
            </a:br>
            <a:r>
              <a:rPr lang="de-DE" dirty="0" smtClean="0"/>
              <a:t>- </a:t>
            </a:r>
            <a:r>
              <a:rPr lang="de-DE" b="1" dirty="0" smtClean="0"/>
              <a:t>Sprint Review </a:t>
            </a:r>
            <a:r>
              <a:rPr lang="de-DE" dirty="0" smtClean="0"/>
              <a:t>und </a:t>
            </a:r>
            <a:r>
              <a:rPr lang="de-DE" b="1" dirty="0" smtClean="0"/>
              <a:t>Retrospektive</a:t>
            </a:r>
            <a:endParaRPr lang="de-DE" b="1" dirty="0"/>
          </a:p>
        </p:txBody>
      </p:sp>
      <p:sp>
        <p:nvSpPr>
          <p:cNvPr id="8" name="Textfeld 7"/>
          <p:cNvSpPr txBox="1"/>
          <p:nvPr/>
        </p:nvSpPr>
        <p:spPr>
          <a:xfrm rot="5400000">
            <a:off x="5834487" y="3746671"/>
            <a:ext cx="4252490" cy="584775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de-DE" sz="3200" b="1" dirty="0" err="1" smtClean="0"/>
              <a:t>Self-organized</a:t>
            </a:r>
            <a:r>
              <a:rPr lang="de-DE" sz="3200" b="1" dirty="0" smtClean="0"/>
              <a:t> Team</a:t>
            </a:r>
            <a:endParaRPr lang="de-DE" sz="3200" b="1" dirty="0"/>
          </a:p>
        </p:txBody>
      </p:sp>
      <p:sp>
        <p:nvSpPr>
          <p:cNvPr id="9" name="Rechteckige Legende 8"/>
          <p:cNvSpPr/>
          <p:nvPr/>
        </p:nvSpPr>
        <p:spPr bwMode="auto">
          <a:xfrm>
            <a:off x="3803464" y="1248827"/>
            <a:ext cx="2448271" cy="812021"/>
          </a:xfrm>
          <a:prstGeom prst="wedgeRectCallout">
            <a:avLst>
              <a:gd name="adj1" fmla="val -124800"/>
              <a:gd name="adj2" fmla="val 14304"/>
            </a:avLst>
          </a:prstGeom>
          <a:solidFill>
            <a:schemeClr val="tx2">
              <a:lumMod val="40000"/>
              <a:lumOff val="60000"/>
              <a:alpha val="74901"/>
            </a:schemeClr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ctr">
              <a:spcBef>
                <a:spcPct val="50000"/>
              </a:spcBef>
            </a:pPr>
            <a:r>
              <a:rPr lang="de-DE" sz="1200" dirty="0" smtClean="0">
                <a:solidFill>
                  <a:srgbClr val="000000"/>
                </a:solidFill>
              </a:rPr>
              <a:t>Hr. Legner (MDN)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Verantwortlich für die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Konsolidierung der Anforderungen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10" name="Rechteckige Legende 9"/>
          <p:cNvSpPr/>
          <p:nvPr/>
        </p:nvSpPr>
        <p:spPr bwMode="auto">
          <a:xfrm>
            <a:off x="4499991" y="4869160"/>
            <a:ext cx="2088231" cy="576063"/>
          </a:xfrm>
          <a:prstGeom prst="wedgeRectCallout">
            <a:avLst>
              <a:gd name="adj1" fmla="val -175004"/>
              <a:gd name="adj2" fmla="val -37869"/>
            </a:avLst>
          </a:prstGeom>
          <a:solidFill>
            <a:schemeClr val="tx2">
              <a:lumMod val="40000"/>
              <a:lumOff val="60000"/>
              <a:alpha val="74901"/>
            </a:schemeClr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ctr">
              <a:spcBef>
                <a:spcPct val="50000"/>
              </a:spcBef>
            </a:pPr>
            <a:r>
              <a:rPr lang="de-DE" sz="1200" dirty="0" smtClean="0">
                <a:solidFill>
                  <a:srgbClr val="000000"/>
                </a:solidFill>
              </a:rPr>
              <a:t>Jan Krüger (BTC)</a:t>
            </a:r>
            <a:endParaRPr lang="de-DE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681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eitplan in Abstimmung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98C9C2-F3A1-4087-A72D-C805860568CD}" type="datetime4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. Februar 2015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>
                <a:solidFill>
                  <a:prstClr val="black">
                    <a:tint val="75000"/>
                  </a:prstClr>
                </a:solidFill>
              </a:rPr>
              <a:t>Seite</a:t>
            </a:r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1F317E-F64C-4C24-8CEC-DD83B69AA747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9</a:t>
            </a:fld>
            <a:endParaRPr lang="de-D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260823" y="5877112"/>
            <a:ext cx="8127601" cy="432208"/>
          </a:xfrm>
          <a:prstGeom prst="homePlate">
            <a:avLst>
              <a:gd name="adj" fmla="val 42246"/>
            </a:avLst>
          </a:prstGeom>
          <a:solidFill>
            <a:srgbClr val="FFD500">
              <a:alpha val="5019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endParaRPr lang="de-DE" dirty="0">
              <a:solidFill>
                <a:schemeClr val="tx2"/>
              </a:solidFill>
            </a:endParaRPr>
          </a:p>
        </p:txBody>
      </p:sp>
      <p:sp>
        <p:nvSpPr>
          <p:cNvPr id="8" name="AutoShape 3"/>
          <p:cNvSpPr>
            <a:spLocks noChangeArrowheads="1"/>
          </p:cNvSpPr>
          <p:nvPr/>
        </p:nvSpPr>
        <p:spPr bwMode="auto">
          <a:xfrm>
            <a:off x="260823" y="5229995"/>
            <a:ext cx="1430857" cy="575269"/>
          </a:xfrm>
          <a:prstGeom prst="homePlate">
            <a:avLst>
              <a:gd name="adj" fmla="val 42246"/>
            </a:avLst>
          </a:prstGeom>
          <a:solidFill>
            <a:srgbClr val="B9CCD7">
              <a:alpha val="50196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r>
              <a:rPr lang="de-DE" b="1" dirty="0" smtClean="0">
                <a:solidFill>
                  <a:schemeClr val="tx2"/>
                </a:solidFill>
              </a:rPr>
              <a:t>	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775006" y="5233774"/>
            <a:ext cx="1040446" cy="575269"/>
          </a:xfrm>
          <a:prstGeom prst="chevron">
            <a:avLst>
              <a:gd name="adj" fmla="val 42288"/>
            </a:avLst>
          </a:prstGeom>
          <a:solidFill>
            <a:srgbClr val="B9CCD7">
              <a:alpha val="50196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r>
              <a:rPr lang="de-DE" b="1" dirty="0">
                <a:solidFill>
                  <a:schemeClr val="tx2"/>
                </a:solidFill>
              </a:rPr>
              <a:t>    </a:t>
            </a: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7000285" y="5248312"/>
            <a:ext cx="936104" cy="575269"/>
          </a:xfrm>
          <a:prstGeom prst="chevron">
            <a:avLst>
              <a:gd name="adj" fmla="val 42288"/>
            </a:avLst>
          </a:prstGeom>
          <a:solidFill>
            <a:srgbClr val="B9CCD7">
              <a:alpha val="50196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11" name="Rectangle 5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2700000">
            <a:off x="1449863" y="5460478"/>
            <a:ext cx="114300" cy="114300"/>
          </a:xfrm>
          <a:prstGeom prst="rect">
            <a:avLst/>
          </a:prstGeom>
          <a:solidFill>
            <a:srgbClr val="CE4D4A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lnSpc>
                <a:spcPct val="90000"/>
              </a:lnSpc>
            </a:pPr>
            <a:endParaRPr lang="en-US" sz="1400"/>
          </a:p>
        </p:txBody>
      </p:sp>
      <p:sp>
        <p:nvSpPr>
          <p:cNvPr id="12" name="Textfeld 11"/>
          <p:cNvSpPr txBox="1"/>
          <p:nvPr/>
        </p:nvSpPr>
        <p:spPr>
          <a:xfrm>
            <a:off x="210870" y="4509120"/>
            <a:ext cx="10969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Projekt Setup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 rot="16200000">
            <a:off x="333134" y="3013574"/>
            <a:ext cx="23477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Kick-Off 04. 02. 2015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1835696" y="4786119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print 1</a:t>
            </a:r>
            <a:endParaRPr lang="de-DE" dirty="0"/>
          </a:p>
        </p:txBody>
      </p:sp>
      <p:sp>
        <p:nvSpPr>
          <p:cNvPr id="15" name="AutoShape 4"/>
          <p:cNvSpPr>
            <a:spLocks noChangeArrowheads="1"/>
          </p:cNvSpPr>
          <p:nvPr/>
        </p:nvSpPr>
        <p:spPr bwMode="auto">
          <a:xfrm>
            <a:off x="2699792" y="5233774"/>
            <a:ext cx="1040446" cy="575269"/>
          </a:xfrm>
          <a:prstGeom prst="chevron">
            <a:avLst>
              <a:gd name="adj" fmla="val 42288"/>
            </a:avLst>
          </a:prstGeom>
          <a:solidFill>
            <a:srgbClr val="B9CCD7">
              <a:alpha val="50196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r>
              <a:rPr lang="de-DE" b="1" dirty="0">
                <a:solidFill>
                  <a:schemeClr val="tx2"/>
                </a:solidFill>
              </a:rPr>
              <a:t>    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728149" y="4786119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print 2</a:t>
            </a:r>
            <a:endParaRPr lang="de-DE" dirty="0"/>
          </a:p>
        </p:txBody>
      </p:sp>
      <p:sp>
        <p:nvSpPr>
          <p:cNvPr id="17" name="Rectangle 5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2700000">
            <a:off x="4710885" y="5478797"/>
            <a:ext cx="114300" cy="114300"/>
          </a:xfrm>
          <a:prstGeom prst="rect">
            <a:avLst/>
          </a:prstGeom>
          <a:solidFill>
            <a:srgbClr val="CE4D4A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lnSpc>
                <a:spcPct val="90000"/>
              </a:lnSpc>
            </a:pPr>
            <a:endParaRPr lang="en-US" sz="1400"/>
          </a:p>
        </p:txBody>
      </p:sp>
      <p:sp>
        <p:nvSpPr>
          <p:cNvPr id="18" name="Textfeld 17"/>
          <p:cNvSpPr txBox="1"/>
          <p:nvPr/>
        </p:nvSpPr>
        <p:spPr>
          <a:xfrm rot="16200000">
            <a:off x="3527251" y="3297858"/>
            <a:ext cx="25442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. </a:t>
            </a:r>
            <a:r>
              <a:rPr lang="de-DE" dirty="0" err="1" smtClean="0"/>
              <a:t>Deployment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Umgebung Konsortium</a:t>
            </a:r>
            <a:endParaRPr lang="de-DE" dirty="0"/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5887830" y="5233774"/>
            <a:ext cx="1040446" cy="575269"/>
          </a:xfrm>
          <a:prstGeom prst="chevron">
            <a:avLst>
              <a:gd name="adj" fmla="val 42288"/>
            </a:avLst>
          </a:prstGeom>
          <a:solidFill>
            <a:srgbClr val="B9CCD7">
              <a:alpha val="50196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r>
              <a:rPr lang="de-DE" b="1" dirty="0">
                <a:solidFill>
                  <a:schemeClr val="tx2"/>
                </a:solidFill>
              </a:rPr>
              <a:t>    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5848156" y="4787860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print n</a:t>
            </a:r>
            <a:endParaRPr lang="de-DE" dirty="0"/>
          </a:p>
        </p:txBody>
      </p:sp>
      <p:sp>
        <p:nvSpPr>
          <p:cNvPr id="21" name="Textfeld 20"/>
          <p:cNvSpPr txBox="1"/>
          <p:nvPr/>
        </p:nvSpPr>
        <p:spPr>
          <a:xfrm>
            <a:off x="4940409" y="4725144"/>
            <a:ext cx="1031051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6600" dirty="0" smtClean="0"/>
              <a:t>…</a:t>
            </a:r>
            <a:endParaRPr lang="de-DE" sz="6600" dirty="0"/>
          </a:p>
        </p:txBody>
      </p:sp>
      <p:sp>
        <p:nvSpPr>
          <p:cNvPr id="22" name="Textfeld 21"/>
          <p:cNvSpPr txBox="1"/>
          <p:nvPr/>
        </p:nvSpPr>
        <p:spPr>
          <a:xfrm>
            <a:off x="7072292" y="4221088"/>
            <a:ext cx="135165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Abnahme</a:t>
            </a:r>
            <a:br>
              <a:rPr lang="de-DE" dirty="0" smtClean="0"/>
            </a:br>
            <a:r>
              <a:rPr lang="de-DE" dirty="0" smtClean="0"/>
              <a:t>Umgebung</a:t>
            </a:r>
            <a:br>
              <a:rPr lang="de-DE" dirty="0" smtClean="0"/>
            </a:br>
            <a:r>
              <a:rPr lang="de-DE" dirty="0" smtClean="0"/>
              <a:t>Konsortium</a:t>
            </a:r>
            <a:endParaRPr lang="de-DE" dirty="0"/>
          </a:p>
        </p:txBody>
      </p:sp>
      <p:sp>
        <p:nvSpPr>
          <p:cNvPr id="23" name="Rectangle 5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2700000">
            <a:off x="6951949" y="5478799"/>
            <a:ext cx="114300" cy="114300"/>
          </a:xfrm>
          <a:prstGeom prst="rect">
            <a:avLst/>
          </a:prstGeom>
          <a:solidFill>
            <a:srgbClr val="CE4D4A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0000" tIns="46800" rIns="90000" bIns="46800" anchor="ctr"/>
          <a:lstStyle/>
          <a:p>
            <a:pPr>
              <a:lnSpc>
                <a:spcPct val="90000"/>
              </a:lnSpc>
            </a:pPr>
            <a:endParaRPr lang="en-US" sz="1400"/>
          </a:p>
        </p:txBody>
      </p:sp>
      <p:sp>
        <p:nvSpPr>
          <p:cNvPr id="24" name="Textfeld 23"/>
          <p:cNvSpPr txBox="1"/>
          <p:nvPr/>
        </p:nvSpPr>
        <p:spPr>
          <a:xfrm rot="16200000">
            <a:off x="6315542" y="3681695"/>
            <a:ext cx="13067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~ Juli 2015</a:t>
            </a:r>
            <a:endParaRPr lang="de-DE" dirty="0"/>
          </a:p>
        </p:txBody>
      </p:sp>
      <p:sp>
        <p:nvSpPr>
          <p:cNvPr id="25" name="Textfeld 24"/>
          <p:cNvSpPr txBox="1"/>
          <p:nvPr/>
        </p:nvSpPr>
        <p:spPr>
          <a:xfrm>
            <a:off x="2289552" y="1412776"/>
            <a:ext cx="38666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printdauer 4 Wochen</a:t>
            </a:r>
          </a:p>
          <a:p>
            <a:r>
              <a:rPr lang="de-DE" dirty="0" smtClean="0"/>
              <a:t>Sprint Planung vor jedem Sprint</a:t>
            </a:r>
          </a:p>
          <a:p>
            <a:r>
              <a:rPr lang="de-DE" dirty="0" smtClean="0"/>
              <a:t>Retrospektive nach jedem Sprint</a:t>
            </a:r>
            <a:endParaRPr lang="de-DE" dirty="0"/>
          </a:p>
        </p:txBody>
      </p:sp>
      <p:cxnSp>
        <p:nvCxnSpPr>
          <p:cNvPr id="26" name="Gerade Verbindung 25"/>
          <p:cNvCxnSpPr>
            <a:stCxn id="13" idx="1"/>
          </p:cNvCxnSpPr>
          <p:nvPr/>
        </p:nvCxnSpPr>
        <p:spPr>
          <a:xfrm flipH="1">
            <a:off x="1505898" y="4372120"/>
            <a:ext cx="1116" cy="98661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>
            <a:off x="4766919" y="4894134"/>
            <a:ext cx="0" cy="479082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 flipH="1">
            <a:off x="6999167" y="4566139"/>
            <a:ext cx="1117" cy="80707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AutoShape 4"/>
          <p:cNvSpPr>
            <a:spLocks noChangeArrowheads="1"/>
          </p:cNvSpPr>
          <p:nvPr/>
        </p:nvSpPr>
        <p:spPr bwMode="auto">
          <a:xfrm>
            <a:off x="3635896" y="5244807"/>
            <a:ext cx="1040446" cy="575269"/>
          </a:xfrm>
          <a:prstGeom prst="chevron">
            <a:avLst>
              <a:gd name="adj" fmla="val 42288"/>
            </a:avLst>
          </a:prstGeom>
          <a:solidFill>
            <a:srgbClr val="B9CCD7">
              <a:alpha val="50196"/>
            </a:srgbClr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 eaLnBrk="0" hangingPunct="0">
              <a:spcBef>
                <a:spcPct val="90000"/>
              </a:spcBef>
              <a:buClr>
                <a:srgbClr val="000099"/>
              </a:buClr>
              <a:buFont typeface="Marlett" pitchFamily="2" charset="2"/>
              <a:buNone/>
            </a:pPr>
            <a:r>
              <a:rPr lang="de-DE" b="1" dirty="0">
                <a:solidFill>
                  <a:schemeClr val="tx2"/>
                </a:solidFill>
              </a:rPr>
              <a:t>    </a:t>
            </a:r>
          </a:p>
        </p:txBody>
      </p:sp>
      <p:sp>
        <p:nvSpPr>
          <p:cNvPr id="30" name="Textfeld 29"/>
          <p:cNvSpPr txBox="1"/>
          <p:nvPr/>
        </p:nvSpPr>
        <p:spPr>
          <a:xfrm>
            <a:off x="3664253" y="4797152"/>
            <a:ext cx="9797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print 3</a:t>
            </a:r>
            <a:endParaRPr lang="de-DE" dirty="0"/>
          </a:p>
        </p:txBody>
      </p:sp>
      <p:cxnSp>
        <p:nvCxnSpPr>
          <p:cNvPr id="31" name="Gerade Verbindung 30"/>
          <p:cNvCxnSpPr/>
          <p:nvPr/>
        </p:nvCxnSpPr>
        <p:spPr>
          <a:xfrm flipH="1">
            <a:off x="2771800" y="4710155"/>
            <a:ext cx="1117" cy="80707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 rot="16200000">
            <a:off x="1942789" y="3598807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Retrospektive</a:t>
            </a:r>
            <a:endParaRPr lang="de-DE" dirty="0"/>
          </a:p>
        </p:txBody>
      </p:sp>
      <p:cxnSp>
        <p:nvCxnSpPr>
          <p:cNvPr id="33" name="Gerade Verbindung 32"/>
          <p:cNvCxnSpPr/>
          <p:nvPr/>
        </p:nvCxnSpPr>
        <p:spPr>
          <a:xfrm flipH="1">
            <a:off x="1907703" y="4721289"/>
            <a:ext cx="1117" cy="807077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feld 33"/>
          <p:cNvSpPr txBox="1"/>
          <p:nvPr/>
        </p:nvSpPr>
        <p:spPr>
          <a:xfrm rot="16200000">
            <a:off x="322076" y="2854390"/>
            <a:ext cx="31085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Sprint Planung: 10. 02. 2015</a:t>
            </a:r>
            <a:endParaRPr lang="de-DE" dirty="0"/>
          </a:p>
        </p:txBody>
      </p:sp>
      <p:sp>
        <p:nvSpPr>
          <p:cNvPr id="35" name="Rechteckige Legende 34"/>
          <p:cNvSpPr/>
          <p:nvPr/>
        </p:nvSpPr>
        <p:spPr bwMode="auto">
          <a:xfrm>
            <a:off x="6156176" y="1124744"/>
            <a:ext cx="2448271" cy="936104"/>
          </a:xfrm>
          <a:prstGeom prst="wedgeRectCallout">
            <a:avLst>
              <a:gd name="adj1" fmla="val -80624"/>
              <a:gd name="adj2" fmla="val 26435"/>
            </a:avLst>
          </a:prstGeom>
          <a:solidFill>
            <a:schemeClr val="tx2">
              <a:lumMod val="40000"/>
              <a:lumOff val="60000"/>
              <a:alpha val="74901"/>
            </a:schemeClr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ctr"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Vorbereitung</a:t>
            </a:r>
            <a:r>
              <a:rPr lang="de-DE" sz="1200" dirty="0" smtClean="0">
                <a:solidFill>
                  <a:srgbClr val="000000"/>
                </a:solidFill>
              </a:rPr>
              <a:t> durch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err="1" smtClean="0">
                <a:solidFill>
                  <a:srgbClr val="000000"/>
                </a:solidFill>
              </a:rPr>
              <a:t>Product</a:t>
            </a:r>
            <a:r>
              <a:rPr lang="de-DE" sz="1200" dirty="0" smtClean="0">
                <a:solidFill>
                  <a:srgbClr val="000000"/>
                </a:solidFill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</a:rPr>
              <a:t>Owner</a:t>
            </a:r>
            <a:r>
              <a:rPr lang="de-DE" sz="1200" dirty="0" smtClean="0">
                <a:solidFill>
                  <a:srgbClr val="000000"/>
                </a:solidFill>
              </a:rPr>
              <a:t/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b="1" dirty="0" smtClean="0">
                <a:solidFill>
                  <a:srgbClr val="000000"/>
                </a:solidFill>
              </a:rPr>
              <a:t>Teilnehmer:</a:t>
            </a:r>
            <a:r>
              <a:rPr lang="de-DE" sz="1200" dirty="0" smtClean="0">
                <a:solidFill>
                  <a:srgbClr val="000000"/>
                </a:solidFill>
              </a:rPr>
              <a:t/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err="1" smtClean="0">
                <a:solidFill>
                  <a:srgbClr val="000000"/>
                </a:solidFill>
              </a:rPr>
              <a:t>Product</a:t>
            </a:r>
            <a:r>
              <a:rPr lang="de-DE" sz="1200" dirty="0" smtClean="0">
                <a:solidFill>
                  <a:srgbClr val="000000"/>
                </a:solidFill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</a:rPr>
              <a:t>Owner</a:t>
            </a:r>
            <a:r>
              <a:rPr lang="de-DE" sz="1200" dirty="0" smtClean="0">
                <a:solidFill>
                  <a:srgbClr val="000000"/>
                </a:solidFill>
              </a:rPr>
              <a:t>, </a:t>
            </a:r>
            <a:r>
              <a:rPr lang="de-DE" sz="1200" dirty="0" err="1" smtClean="0">
                <a:solidFill>
                  <a:srgbClr val="000000"/>
                </a:solidFill>
              </a:rPr>
              <a:t>Scrum</a:t>
            </a:r>
            <a:r>
              <a:rPr lang="de-DE" sz="1200" dirty="0" smtClean="0">
                <a:solidFill>
                  <a:srgbClr val="000000"/>
                </a:solidFill>
              </a:rPr>
              <a:t> Master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&amp; Team-Mitglieder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6" name="Rechteckige Legende 35"/>
          <p:cNvSpPr/>
          <p:nvPr/>
        </p:nvSpPr>
        <p:spPr bwMode="auto">
          <a:xfrm>
            <a:off x="6156176" y="2190031"/>
            <a:ext cx="2448271" cy="936104"/>
          </a:xfrm>
          <a:prstGeom prst="wedgeRectCallout">
            <a:avLst>
              <a:gd name="adj1" fmla="val -80071"/>
              <a:gd name="adj2" fmla="val -59257"/>
            </a:avLst>
          </a:prstGeom>
          <a:solidFill>
            <a:schemeClr val="tx2">
              <a:lumMod val="40000"/>
              <a:lumOff val="60000"/>
              <a:alpha val="74901"/>
            </a:schemeClr>
          </a:solidFill>
          <a:ln w="3175" algn="ctr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algn="ctr">
              <a:spcBef>
                <a:spcPct val="50000"/>
              </a:spcBef>
            </a:pPr>
            <a:r>
              <a:rPr lang="de-DE" sz="1200" b="1" dirty="0" smtClean="0">
                <a:solidFill>
                  <a:srgbClr val="000000"/>
                </a:solidFill>
              </a:rPr>
              <a:t>Vorbereitung</a:t>
            </a:r>
            <a:r>
              <a:rPr lang="de-DE" sz="1200" dirty="0" smtClean="0">
                <a:solidFill>
                  <a:srgbClr val="000000"/>
                </a:solidFill>
              </a:rPr>
              <a:t> durch </a:t>
            </a:r>
            <a:r>
              <a:rPr lang="de-DE" sz="1200" dirty="0" err="1" smtClean="0">
                <a:solidFill>
                  <a:srgbClr val="000000"/>
                </a:solidFill>
              </a:rPr>
              <a:t>Scrum</a:t>
            </a:r>
            <a:r>
              <a:rPr lang="de-DE" sz="1200" dirty="0" smtClean="0">
                <a:solidFill>
                  <a:srgbClr val="000000"/>
                </a:solidFill>
              </a:rPr>
              <a:t> Master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b="1" dirty="0" smtClean="0">
                <a:solidFill>
                  <a:srgbClr val="000000"/>
                </a:solidFill>
              </a:rPr>
              <a:t>Teilnehmer:</a:t>
            </a:r>
            <a:r>
              <a:rPr lang="de-DE" sz="1200" dirty="0" smtClean="0">
                <a:solidFill>
                  <a:srgbClr val="000000"/>
                </a:solidFill>
              </a:rPr>
              <a:t/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err="1" smtClean="0">
                <a:solidFill>
                  <a:srgbClr val="000000"/>
                </a:solidFill>
              </a:rPr>
              <a:t>Scrum</a:t>
            </a:r>
            <a:r>
              <a:rPr lang="de-DE" sz="1200" dirty="0" smtClean="0">
                <a:solidFill>
                  <a:srgbClr val="000000"/>
                </a:solidFill>
              </a:rPr>
              <a:t> Master &amp;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Team-Mitglieder,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err="1" smtClean="0">
                <a:solidFill>
                  <a:srgbClr val="000000"/>
                </a:solidFill>
              </a:rPr>
              <a:t>Product</a:t>
            </a:r>
            <a:r>
              <a:rPr lang="de-DE" sz="1200" dirty="0" smtClean="0">
                <a:solidFill>
                  <a:srgbClr val="000000"/>
                </a:solidFill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</a:rPr>
              <a:t>Owner</a:t>
            </a:r>
            <a:r>
              <a:rPr lang="de-DE" sz="1200" dirty="0" smtClean="0">
                <a:solidFill>
                  <a:srgbClr val="000000"/>
                </a:solidFill>
              </a:rPr>
              <a:t> optional</a:t>
            </a:r>
            <a:endParaRPr lang="de-DE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839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elEzbWrEaEaFhvimdJ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elEzbWrEaEaFhvimdJ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elEzbWrEaEaFhvimdJvw"/>
</p:tagLst>
</file>

<file path=ppt/theme/theme1.xml><?xml version="1.0" encoding="utf-8"?>
<a:theme xmlns:a="http://schemas.openxmlformats.org/drawingml/2006/main" name="Larissa-Design">
  <a:themeElements>
    <a:clrScheme name="Benutzerdefiniert 2">
      <a:dk1>
        <a:sysClr val="windowText" lastClr="000000"/>
      </a:dk1>
      <a:lt1>
        <a:sysClr val="window" lastClr="FFFFFF"/>
      </a:lt1>
      <a:dk2>
        <a:srgbClr val="004E80"/>
      </a:dk2>
      <a:lt2>
        <a:srgbClr val="E5F0F9"/>
      </a:lt2>
      <a:accent1>
        <a:srgbClr val="80B300"/>
      </a:accent1>
      <a:accent2>
        <a:srgbClr val="009999"/>
      </a:accent2>
      <a:accent3>
        <a:srgbClr val="0080C0"/>
      </a:accent3>
      <a:accent4>
        <a:srgbClr val="004E80"/>
      </a:accent4>
      <a:accent5>
        <a:srgbClr val="990000"/>
      </a:accent5>
      <a:accent6>
        <a:srgbClr val="FFB300"/>
      </a:accent6>
      <a:hlink>
        <a:srgbClr val="000000"/>
      </a:hlink>
      <a:folHlink>
        <a:srgbClr val="000000"/>
      </a:folHlink>
    </a:clrScheme>
    <a:fontScheme name="OpenKONSEQUENZ">
      <a:majorFont>
        <a:latin typeface="Source Sans Pro Light"/>
        <a:ea typeface=""/>
        <a:cs typeface=""/>
      </a:majorFont>
      <a:minorFont>
        <a:latin typeface="Source Sans Pro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Larissa-Design">
  <a:themeElements>
    <a:clrScheme name="Benutzerdefiniert 2">
      <a:dk1>
        <a:sysClr val="windowText" lastClr="000000"/>
      </a:dk1>
      <a:lt1>
        <a:sysClr val="window" lastClr="FFFFFF"/>
      </a:lt1>
      <a:dk2>
        <a:srgbClr val="004E80"/>
      </a:dk2>
      <a:lt2>
        <a:srgbClr val="E5F0F9"/>
      </a:lt2>
      <a:accent1>
        <a:srgbClr val="80B300"/>
      </a:accent1>
      <a:accent2>
        <a:srgbClr val="009999"/>
      </a:accent2>
      <a:accent3>
        <a:srgbClr val="0080C0"/>
      </a:accent3>
      <a:accent4>
        <a:srgbClr val="004E80"/>
      </a:accent4>
      <a:accent5>
        <a:srgbClr val="990000"/>
      </a:accent5>
      <a:accent6>
        <a:srgbClr val="FFB300"/>
      </a:accent6>
      <a:hlink>
        <a:srgbClr val="000000"/>
      </a:hlink>
      <a:folHlink>
        <a:srgbClr val="000000"/>
      </a:folHlink>
    </a:clrScheme>
    <a:fontScheme name="OpenKONSEQUENZ">
      <a:majorFont>
        <a:latin typeface="Source Sans Pro Light"/>
        <a:ea typeface=""/>
        <a:cs typeface=""/>
      </a:majorFont>
      <a:minorFont>
        <a:latin typeface="Source Sans Pro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45</Words>
  <Application>Microsoft Office PowerPoint</Application>
  <PresentationFormat>A4-Papier (210x297 mm)</PresentationFormat>
  <Paragraphs>466</Paragraphs>
  <Slides>2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1</vt:i4>
      </vt:variant>
    </vt:vector>
  </HeadingPairs>
  <TitlesOfParts>
    <vt:vector size="32" baseType="lpstr">
      <vt:lpstr>Arial</vt:lpstr>
      <vt:lpstr>Source Sans Pro</vt:lpstr>
      <vt:lpstr>Wingdings 2</vt:lpstr>
      <vt:lpstr>Wingdings</vt:lpstr>
      <vt:lpstr>Marlett</vt:lpstr>
      <vt:lpstr>Wingdings 3</vt:lpstr>
      <vt:lpstr>Source Sans Pro Light</vt:lpstr>
      <vt:lpstr>Source Sans Pro Semibold</vt:lpstr>
      <vt:lpstr>Frutiger 45 Light</vt:lpstr>
      <vt:lpstr>Larissa-Design</vt:lpstr>
      <vt:lpstr>1_Larissa-Design</vt:lpstr>
      <vt:lpstr>openKONSEQUENZ</vt:lpstr>
      <vt:lpstr>Agenda</vt:lpstr>
      <vt:lpstr>Teilnehmer</vt:lpstr>
      <vt:lpstr>openKONSEQUENZ: Pilotphase und Pilotprojekt Organisation der Working Group</vt:lpstr>
      <vt:lpstr>openKONSEQUENZ: Pilotphase und Pilotprojekt Projektstrukturplan</vt:lpstr>
      <vt:lpstr>Termine, Festlegungen, offene Punkte</vt:lpstr>
      <vt:lpstr>openK platform: Architektur- &amp; Implementierungsprojekt Projektteam &amp; Projektorganisation</vt:lpstr>
      <vt:lpstr>Scrum: Begriffe und Rollen</vt:lpstr>
      <vt:lpstr>Zeitplan in Abstimmung</vt:lpstr>
      <vt:lpstr>Vorschlag: Inhalte Sprint 1 (Sprint 1 Backlog)</vt:lpstr>
      <vt:lpstr>Funktionsumfang - Fachliche Einordnung</vt:lpstr>
      <vt:lpstr>Wichtigste Quellen für regulatorischen Rahmen</vt:lpstr>
      <vt:lpstr>Maßnahmen/Ursachen. Quelle: BDEW und VKU, 12.10.2012, „Praxis-Leitfaden für unterstützende Maßnahmen von Stromnetzbetreibern“ (Kontext BDEW-Kaskade)</vt:lpstr>
      <vt:lpstr>Umfang der 1. Entwicklungsstufe (blau eingefärbt = Teil der 1. Entw.stufe)</vt:lpstr>
      <vt:lpstr>Eisman-SSM-App (für Fall 1 Systemsicherheitsmanagement)</vt:lpstr>
      <vt:lpstr>Welche Anlage wird bei einem Engpass abgeschaltet? (Ausgewählte Aspekte)</vt:lpstr>
      <vt:lpstr>Eisman-SSM-GUI</vt:lpstr>
      <vt:lpstr>Netzzustandsbild 1 (Minimalfunktionen für Eisman-SSM)</vt:lpstr>
      <vt:lpstr>Netzzustandsbild 1 GUI (TreeView)</vt:lpstr>
      <vt:lpstr>CIM Schnittstellenschema</vt:lpstr>
      <vt:lpstr>CIM veranschaulicht im openKONSEQUENZ-Bild</vt:lpstr>
    </vt:vector>
  </TitlesOfParts>
  <Company>24/7 IT-Services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rteilnetzbetreiber als letzte Rettung –  Der Beitrag der VNB zur Versorgungssicherheit</dc:title>
  <dc:creator>u2337</dc:creator>
  <cp:lastModifiedBy>Peter Herdt</cp:lastModifiedBy>
  <cp:revision>260</cp:revision>
  <cp:lastPrinted>2015-02-02T09:54:28Z</cp:lastPrinted>
  <dcterms:created xsi:type="dcterms:W3CDTF">2012-10-10T13:23:57Z</dcterms:created>
  <dcterms:modified xsi:type="dcterms:W3CDTF">2015-02-09T15:13:12Z</dcterms:modified>
</cp:coreProperties>
</file>